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305" r:id="rId5"/>
    <p:sldId id="284" r:id="rId6"/>
    <p:sldId id="285" r:id="rId7"/>
    <p:sldId id="287" r:id="rId8"/>
    <p:sldId id="299" r:id="rId9"/>
    <p:sldId id="286" r:id="rId10"/>
    <p:sldId id="303" r:id="rId11"/>
    <p:sldId id="288" r:id="rId12"/>
    <p:sldId id="289" r:id="rId13"/>
    <p:sldId id="290" r:id="rId14"/>
    <p:sldId id="301" r:id="rId15"/>
    <p:sldId id="291" r:id="rId16"/>
    <p:sldId id="292" r:id="rId17"/>
    <p:sldId id="294" r:id="rId18"/>
    <p:sldId id="295" r:id="rId19"/>
    <p:sldId id="302" r:id="rId20"/>
    <p:sldId id="296" r:id="rId21"/>
    <p:sldId id="306" r:id="rId22"/>
    <p:sldId id="297" r:id="rId23"/>
    <p:sldId id="298" r:id="rId24"/>
    <p:sldId id="283" r:id="rId25"/>
    <p:sldId id="304" r:id="rId26"/>
  </p:sldIdLst>
  <p:sldSz cx="12192000" cy="6858000"/>
  <p:notesSz cx="6858000" cy="914400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38" userDrawn="1">
          <p15:clr>
            <a:srgbClr val="A4A3A4"/>
          </p15:clr>
        </p15:guide>
        <p15:guide id="3" orient="horz" pos="1638" userDrawn="1">
          <p15:clr>
            <a:srgbClr val="A4A3A4"/>
          </p15:clr>
        </p15:guide>
        <p15:guide id="4" orient="horz" pos="3816" userDrawn="1">
          <p15:clr>
            <a:srgbClr val="A4A3A4"/>
          </p15:clr>
        </p15:guide>
        <p15:guide id="5" pos="3795" userDrawn="1">
          <p15:clr>
            <a:srgbClr val="A4A3A4"/>
          </p15:clr>
        </p15:guide>
        <p15:guide id="6" pos="3885" userDrawn="1">
          <p15:clr>
            <a:srgbClr val="A4A3A4"/>
          </p15:clr>
        </p15:guide>
        <p15:guide id="7" pos="72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712A5E-81C5-4902-9324-EFAAAAFCCAE3}" v="33" dt="2019-09-09T12:20:47.5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467" autoAdjust="0"/>
    <p:restoredTop sz="96395" autoAdjust="0"/>
  </p:normalViewPr>
  <p:slideViewPr>
    <p:cSldViewPr showGuides="1">
      <p:cViewPr varScale="1">
        <p:scale>
          <a:sx n="48" d="100"/>
          <a:sy n="48" d="100"/>
        </p:scale>
        <p:origin x="32" y="428"/>
      </p:cViewPr>
      <p:guideLst>
        <p:guide pos="438"/>
        <p:guide orient="horz" pos="1638"/>
        <p:guide orient="horz" pos="3816"/>
        <p:guide pos="3795"/>
        <p:guide pos="3885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389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hard Boyne" userId="54f2d3b7a01b2c64" providerId="LiveId" clId="{5E712A5E-81C5-4902-9324-EFAAAAFCCAE3}"/>
    <pc:docChg chg="undo custSel modSld">
      <pc:chgData name="Richard Boyne" userId="54f2d3b7a01b2c64" providerId="LiveId" clId="{5E712A5E-81C5-4902-9324-EFAAAAFCCAE3}" dt="2019-09-09T12:20:47.508" v="128" actId="20577"/>
      <pc:docMkLst>
        <pc:docMk/>
      </pc:docMkLst>
      <pc:sldChg chg="modSp">
        <pc:chgData name="Richard Boyne" userId="54f2d3b7a01b2c64" providerId="LiveId" clId="{5E712A5E-81C5-4902-9324-EFAAAAFCCAE3}" dt="2019-09-09T12:07:00.398" v="40" actId="20577"/>
        <pc:sldMkLst>
          <pc:docMk/>
          <pc:sldMk cId="3095664303" sldId="284"/>
        </pc:sldMkLst>
        <pc:spChg chg="mod">
          <ac:chgData name="Richard Boyne" userId="54f2d3b7a01b2c64" providerId="LiveId" clId="{5E712A5E-81C5-4902-9324-EFAAAAFCCAE3}" dt="2019-09-09T12:07:00.398" v="40" actId="20577"/>
          <ac:spMkLst>
            <pc:docMk/>
            <pc:sldMk cId="3095664303" sldId="284"/>
            <ac:spMk id="11" creationId="{68CE9C53-CB1B-4B6E-9B8D-8EFC82FFE1E0}"/>
          </ac:spMkLst>
        </pc:spChg>
      </pc:sldChg>
      <pc:sldChg chg="addSp delSp">
        <pc:chgData name="Richard Boyne" userId="54f2d3b7a01b2c64" providerId="LiveId" clId="{5E712A5E-81C5-4902-9324-EFAAAAFCCAE3}" dt="2019-09-09T12:06:53.381" v="38"/>
        <pc:sldMkLst>
          <pc:docMk/>
          <pc:sldMk cId="785293038" sldId="285"/>
        </pc:sldMkLst>
        <pc:spChg chg="del">
          <ac:chgData name="Richard Boyne" userId="54f2d3b7a01b2c64" providerId="LiveId" clId="{5E712A5E-81C5-4902-9324-EFAAAAFCCAE3}" dt="2019-09-09T12:06:52.638" v="37" actId="478"/>
          <ac:spMkLst>
            <pc:docMk/>
            <pc:sldMk cId="785293038" sldId="285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53.381" v="38"/>
          <ac:spMkLst>
            <pc:docMk/>
            <pc:sldMk cId="785293038" sldId="285"/>
            <ac:spMk id="19" creationId="{A9E59241-3DBB-4B2F-AEF3-A9C48005BEA5}"/>
          </ac:spMkLst>
        </pc:spChg>
      </pc:sldChg>
      <pc:sldChg chg="addSp delSp">
        <pc:chgData name="Richard Boyne" userId="54f2d3b7a01b2c64" providerId="LiveId" clId="{5E712A5E-81C5-4902-9324-EFAAAAFCCAE3}" dt="2019-09-09T12:06:43.275" v="32"/>
        <pc:sldMkLst>
          <pc:docMk/>
          <pc:sldMk cId="1031376446" sldId="286"/>
        </pc:sldMkLst>
        <pc:spChg chg="del">
          <ac:chgData name="Richard Boyne" userId="54f2d3b7a01b2c64" providerId="LiveId" clId="{5E712A5E-81C5-4902-9324-EFAAAAFCCAE3}" dt="2019-09-09T12:06:43.035" v="31" actId="478"/>
          <ac:spMkLst>
            <pc:docMk/>
            <pc:sldMk cId="1031376446" sldId="286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43.275" v="32"/>
          <ac:spMkLst>
            <pc:docMk/>
            <pc:sldMk cId="1031376446" sldId="286"/>
            <ac:spMk id="9" creationId="{3F9DA5FC-C114-4CBA-8DDE-1B68518C3FE1}"/>
          </ac:spMkLst>
        </pc:spChg>
      </pc:sldChg>
      <pc:sldChg chg="addSp delSp">
        <pc:chgData name="Richard Boyne" userId="54f2d3b7a01b2c64" providerId="LiveId" clId="{5E712A5E-81C5-4902-9324-EFAAAAFCCAE3}" dt="2019-09-09T12:06:49.953" v="36"/>
        <pc:sldMkLst>
          <pc:docMk/>
          <pc:sldMk cId="3716535477" sldId="287"/>
        </pc:sldMkLst>
        <pc:spChg chg="del">
          <ac:chgData name="Richard Boyne" userId="54f2d3b7a01b2c64" providerId="LiveId" clId="{5E712A5E-81C5-4902-9324-EFAAAAFCCAE3}" dt="2019-09-09T12:06:49.661" v="35" actId="478"/>
          <ac:spMkLst>
            <pc:docMk/>
            <pc:sldMk cId="3716535477" sldId="287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49.953" v="36"/>
          <ac:spMkLst>
            <pc:docMk/>
            <pc:sldMk cId="3716535477" sldId="287"/>
            <ac:spMk id="11" creationId="{EC352320-3D1B-47B0-9589-59F65351F97D}"/>
          </ac:spMkLst>
        </pc:spChg>
      </pc:sldChg>
      <pc:sldChg chg="addSp delSp">
        <pc:chgData name="Richard Boyne" userId="54f2d3b7a01b2c64" providerId="LiveId" clId="{5E712A5E-81C5-4902-9324-EFAAAAFCCAE3}" dt="2019-09-09T12:06:36.040" v="28"/>
        <pc:sldMkLst>
          <pc:docMk/>
          <pc:sldMk cId="148588001" sldId="288"/>
        </pc:sldMkLst>
        <pc:spChg chg="del">
          <ac:chgData name="Richard Boyne" userId="54f2d3b7a01b2c64" providerId="LiveId" clId="{5E712A5E-81C5-4902-9324-EFAAAAFCCAE3}" dt="2019-09-09T12:06:35.849" v="27" actId="478"/>
          <ac:spMkLst>
            <pc:docMk/>
            <pc:sldMk cId="148588001" sldId="288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36.040" v="28"/>
          <ac:spMkLst>
            <pc:docMk/>
            <pc:sldMk cId="148588001" sldId="288"/>
            <ac:spMk id="22" creationId="{B5D835CA-6DD6-45EA-8FE9-DBBF9226B575}"/>
          </ac:spMkLst>
        </pc:spChg>
      </pc:sldChg>
      <pc:sldChg chg="addSp delSp">
        <pc:chgData name="Richard Boyne" userId="54f2d3b7a01b2c64" providerId="LiveId" clId="{5E712A5E-81C5-4902-9324-EFAAAAFCCAE3}" dt="2019-09-09T12:06:33.199" v="26"/>
        <pc:sldMkLst>
          <pc:docMk/>
          <pc:sldMk cId="4270127901" sldId="289"/>
        </pc:sldMkLst>
        <pc:spChg chg="del">
          <ac:chgData name="Richard Boyne" userId="54f2d3b7a01b2c64" providerId="LiveId" clId="{5E712A5E-81C5-4902-9324-EFAAAAFCCAE3}" dt="2019-09-09T12:06:32.826" v="25" actId="478"/>
          <ac:spMkLst>
            <pc:docMk/>
            <pc:sldMk cId="4270127901" sldId="289"/>
            <ac:spMk id="3" creationId="{AEC000FB-0768-4D97-A47C-2F742F948DAC}"/>
          </ac:spMkLst>
        </pc:spChg>
        <pc:spChg chg="add del">
          <ac:chgData name="Richard Boyne" userId="54f2d3b7a01b2c64" providerId="LiveId" clId="{5E712A5E-81C5-4902-9324-EFAAAAFCCAE3}" dt="2019-09-09T12:06:32.475" v="24"/>
          <ac:spMkLst>
            <pc:docMk/>
            <pc:sldMk cId="4270127901" sldId="289"/>
            <ac:spMk id="18" creationId="{AB5CBCF2-27F2-4C92-AF51-710A7F44E64D}"/>
          </ac:spMkLst>
        </pc:spChg>
        <pc:spChg chg="add">
          <ac:chgData name="Richard Boyne" userId="54f2d3b7a01b2c64" providerId="LiveId" clId="{5E712A5E-81C5-4902-9324-EFAAAAFCCAE3}" dt="2019-09-09T12:06:33.199" v="26"/>
          <ac:spMkLst>
            <pc:docMk/>
            <pc:sldMk cId="4270127901" sldId="289"/>
            <ac:spMk id="19" creationId="{1B4E6807-70CB-4D0F-BE5D-145E26EE05E1}"/>
          </ac:spMkLst>
        </pc:spChg>
      </pc:sldChg>
      <pc:sldChg chg="addSp delSp">
        <pc:chgData name="Richard Boyne" userId="54f2d3b7a01b2c64" providerId="LiveId" clId="{5E712A5E-81C5-4902-9324-EFAAAAFCCAE3}" dt="2019-09-09T12:06:28.520" v="22"/>
        <pc:sldMkLst>
          <pc:docMk/>
          <pc:sldMk cId="4031615501" sldId="290"/>
        </pc:sldMkLst>
        <pc:spChg chg="del">
          <ac:chgData name="Richard Boyne" userId="54f2d3b7a01b2c64" providerId="LiveId" clId="{5E712A5E-81C5-4902-9324-EFAAAAFCCAE3}" dt="2019-09-09T12:06:28.331" v="21" actId="478"/>
          <ac:spMkLst>
            <pc:docMk/>
            <pc:sldMk cId="4031615501" sldId="290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28.520" v="22"/>
          <ac:spMkLst>
            <pc:docMk/>
            <pc:sldMk cId="4031615501" sldId="290"/>
            <ac:spMk id="12" creationId="{6BB36B17-078E-4BFC-AB89-E9144CA5FA8F}"/>
          </ac:spMkLst>
        </pc:spChg>
      </pc:sldChg>
      <pc:sldChg chg="addSp delSp">
        <pc:chgData name="Richard Boyne" userId="54f2d3b7a01b2c64" providerId="LiveId" clId="{5E712A5E-81C5-4902-9324-EFAAAAFCCAE3}" dt="2019-09-09T12:06:21.558" v="18"/>
        <pc:sldMkLst>
          <pc:docMk/>
          <pc:sldMk cId="2435090229" sldId="291"/>
        </pc:sldMkLst>
        <pc:spChg chg="del">
          <ac:chgData name="Richard Boyne" userId="54f2d3b7a01b2c64" providerId="LiveId" clId="{5E712A5E-81C5-4902-9324-EFAAAAFCCAE3}" dt="2019-09-09T12:06:21.392" v="17" actId="478"/>
          <ac:spMkLst>
            <pc:docMk/>
            <pc:sldMk cId="2435090229" sldId="291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21.558" v="18"/>
          <ac:spMkLst>
            <pc:docMk/>
            <pc:sldMk cId="2435090229" sldId="291"/>
            <ac:spMk id="12" creationId="{F32F910E-3747-4B26-AFAB-BB04DCC0C80E}"/>
          </ac:spMkLst>
        </pc:spChg>
      </pc:sldChg>
      <pc:sldChg chg="addSp delSp">
        <pc:chgData name="Richard Boyne" userId="54f2d3b7a01b2c64" providerId="LiveId" clId="{5E712A5E-81C5-4902-9324-EFAAAAFCCAE3}" dt="2019-09-09T12:06:17.625" v="16"/>
        <pc:sldMkLst>
          <pc:docMk/>
          <pc:sldMk cId="3251481802" sldId="292"/>
        </pc:sldMkLst>
        <pc:spChg chg="del">
          <ac:chgData name="Richard Boyne" userId="54f2d3b7a01b2c64" providerId="LiveId" clId="{5E712A5E-81C5-4902-9324-EFAAAAFCCAE3}" dt="2019-09-09T12:06:17.112" v="15" actId="478"/>
          <ac:spMkLst>
            <pc:docMk/>
            <pc:sldMk cId="3251481802" sldId="292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17.625" v="16"/>
          <ac:spMkLst>
            <pc:docMk/>
            <pc:sldMk cId="3251481802" sldId="292"/>
            <ac:spMk id="15" creationId="{CCE4DCB6-35D7-4FAF-8B8D-9827D63A3D59}"/>
          </ac:spMkLst>
        </pc:spChg>
      </pc:sldChg>
      <pc:sldChg chg="addSp delSp">
        <pc:chgData name="Richard Boyne" userId="54f2d3b7a01b2c64" providerId="LiveId" clId="{5E712A5E-81C5-4902-9324-EFAAAAFCCAE3}" dt="2019-09-09T12:06:13.795" v="14"/>
        <pc:sldMkLst>
          <pc:docMk/>
          <pc:sldMk cId="2859874983" sldId="294"/>
        </pc:sldMkLst>
        <pc:spChg chg="del">
          <ac:chgData name="Richard Boyne" userId="54f2d3b7a01b2c64" providerId="LiveId" clId="{5E712A5E-81C5-4902-9324-EFAAAAFCCAE3}" dt="2019-09-09T12:06:13.633" v="13" actId="478"/>
          <ac:spMkLst>
            <pc:docMk/>
            <pc:sldMk cId="2859874983" sldId="294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13.795" v="14"/>
          <ac:spMkLst>
            <pc:docMk/>
            <pc:sldMk cId="2859874983" sldId="294"/>
            <ac:spMk id="14" creationId="{0976588D-9543-43DA-A028-000FC5BC74B0}"/>
          </ac:spMkLst>
        </pc:spChg>
      </pc:sldChg>
      <pc:sldChg chg="addSp delSp">
        <pc:chgData name="Richard Boyne" userId="54f2d3b7a01b2c64" providerId="LiveId" clId="{5E712A5E-81C5-4902-9324-EFAAAAFCCAE3}" dt="2019-09-09T12:06:09.629" v="12"/>
        <pc:sldMkLst>
          <pc:docMk/>
          <pc:sldMk cId="2545148982" sldId="295"/>
        </pc:sldMkLst>
        <pc:spChg chg="del">
          <ac:chgData name="Richard Boyne" userId="54f2d3b7a01b2c64" providerId="LiveId" clId="{5E712A5E-81C5-4902-9324-EFAAAAFCCAE3}" dt="2019-09-09T12:06:09.459" v="11" actId="478"/>
          <ac:spMkLst>
            <pc:docMk/>
            <pc:sldMk cId="2545148982" sldId="295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09.629" v="12"/>
          <ac:spMkLst>
            <pc:docMk/>
            <pc:sldMk cId="2545148982" sldId="295"/>
            <ac:spMk id="11" creationId="{9153806F-1B8B-4D10-B641-7A8512E2A722}"/>
          </ac:spMkLst>
        </pc:spChg>
      </pc:sldChg>
      <pc:sldChg chg="addSp delSp">
        <pc:chgData name="Richard Boyne" userId="54f2d3b7a01b2c64" providerId="LiveId" clId="{5E712A5E-81C5-4902-9324-EFAAAAFCCAE3}" dt="2019-09-09T12:05:56.186" v="8"/>
        <pc:sldMkLst>
          <pc:docMk/>
          <pc:sldMk cId="3147766668" sldId="296"/>
        </pc:sldMkLst>
        <pc:spChg chg="del">
          <ac:chgData name="Richard Boyne" userId="54f2d3b7a01b2c64" providerId="LiveId" clId="{5E712A5E-81C5-4902-9324-EFAAAAFCCAE3}" dt="2019-09-09T12:05:56.052" v="7" actId="478"/>
          <ac:spMkLst>
            <pc:docMk/>
            <pc:sldMk cId="3147766668" sldId="296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5:56.186" v="8"/>
          <ac:spMkLst>
            <pc:docMk/>
            <pc:sldMk cId="3147766668" sldId="296"/>
            <ac:spMk id="22" creationId="{7590D883-2CD7-4C19-9643-CA36AE68B2B5}"/>
          </ac:spMkLst>
        </pc:spChg>
      </pc:sldChg>
      <pc:sldChg chg="addSp delSp modSp">
        <pc:chgData name="Richard Boyne" userId="54f2d3b7a01b2c64" providerId="LiveId" clId="{5E712A5E-81C5-4902-9324-EFAAAAFCCAE3}" dt="2019-09-09T12:10:27.631" v="124"/>
        <pc:sldMkLst>
          <pc:docMk/>
          <pc:sldMk cId="904516924" sldId="297"/>
        </pc:sldMkLst>
        <pc:spChg chg="del">
          <ac:chgData name="Richard Boyne" userId="54f2d3b7a01b2c64" providerId="LiveId" clId="{5E712A5E-81C5-4902-9324-EFAAAAFCCAE3}" dt="2019-09-09T12:05:42.935" v="2" actId="478"/>
          <ac:spMkLst>
            <pc:docMk/>
            <pc:sldMk cId="904516924" sldId="297"/>
            <ac:spMk id="3" creationId="{AEC000FB-0768-4D97-A47C-2F742F948DAC}"/>
          </ac:spMkLst>
        </pc:spChg>
        <pc:spChg chg="add mod">
          <ac:chgData name="Richard Boyne" userId="54f2d3b7a01b2c64" providerId="LiveId" clId="{5E712A5E-81C5-4902-9324-EFAAAAFCCAE3}" dt="2019-09-09T12:05:43.417" v="4" actId="14100"/>
          <ac:spMkLst>
            <pc:docMk/>
            <pc:sldMk cId="904516924" sldId="297"/>
            <ac:spMk id="11" creationId="{349D8851-3E7D-45D5-ACF5-2B3C14D7501F}"/>
          </ac:spMkLst>
        </pc:spChg>
        <pc:spChg chg="add del">
          <ac:chgData name="Richard Boyne" userId="54f2d3b7a01b2c64" providerId="LiveId" clId="{5E712A5E-81C5-4902-9324-EFAAAAFCCAE3}" dt="2019-09-09T12:10:27.631" v="124"/>
          <ac:spMkLst>
            <pc:docMk/>
            <pc:sldMk cId="904516924" sldId="297"/>
            <ac:spMk id="13" creationId="{FA70919E-367D-4E79-BFFA-989B0AD6BCFA}"/>
          </ac:spMkLst>
        </pc:spChg>
      </pc:sldChg>
      <pc:sldChg chg="addSp delSp modSp modAnim">
        <pc:chgData name="Richard Boyne" userId="54f2d3b7a01b2c64" providerId="LiveId" clId="{5E712A5E-81C5-4902-9324-EFAAAAFCCAE3}" dt="2019-09-09T12:20:47.508" v="128" actId="20577"/>
        <pc:sldMkLst>
          <pc:docMk/>
          <pc:sldMk cId="4219278416" sldId="298"/>
        </pc:sldMkLst>
        <pc:spChg chg="del">
          <ac:chgData name="Richard Boyne" userId="54f2d3b7a01b2c64" providerId="LiveId" clId="{5E712A5E-81C5-4902-9324-EFAAAAFCCAE3}" dt="2019-09-09T12:05:46.355" v="5" actId="478"/>
          <ac:spMkLst>
            <pc:docMk/>
            <pc:sldMk cId="4219278416" sldId="298"/>
            <ac:spMk id="3" creationId="{AEC000FB-0768-4D97-A47C-2F742F948DAC}"/>
          </ac:spMkLst>
        </pc:spChg>
        <pc:spChg chg="mod">
          <ac:chgData name="Richard Boyne" userId="54f2d3b7a01b2c64" providerId="LiveId" clId="{5E712A5E-81C5-4902-9324-EFAAAAFCCAE3}" dt="2019-09-09T12:20:40.430" v="127" actId="20577"/>
          <ac:spMkLst>
            <pc:docMk/>
            <pc:sldMk cId="4219278416" sldId="298"/>
            <ac:spMk id="7" creationId="{DF36164A-77AD-4C19-B680-448E3C27B71F}"/>
          </ac:spMkLst>
        </pc:spChg>
        <pc:spChg chg="ord">
          <ac:chgData name="Richard Boyne" userId="54f2d3b7a01b2c64" providerId="LiveId" clId="{5E712A5E-81C5-4902-9324-EFAAAAFCCAE3}" dt="2019-09-09T12:10:22.030" v="122" actId="166"/>
          <ac:spMkLst>
            <pc:docMk/>
            <pc:sldMk cId="4219278416" sldId="298"/>
            <ac:spMk id="8" creationId="{DF529F04-9BE8-4DEA-9648-6812B6774B33}"/>
          </ac:spMkLst>
        </pc:spChg>
        <pc:spChg chg="add">
          <ac:chgData name="Richard Boyne" userId="54f2d3b7a01b2c64" providerId="LiveId" clId="{5E712A5E-81C5-4902-9324-EFAAAAFCCAE3}" dt="2019-09-09T12:05:46.510" v="6"/>
          <ac:spMkLst>
            <pc:docMk/>
            <pc:sldMk cId="4219278416" sldId="298"/>
            <ac:spMk id="9" creationId="{DF02AA25-D854-4E4F-B30B-B52F74940A08}"/>
          </ac:spMkLst>
        </pc:spChg>
      </pc:sldChg>
      <pc:sldChg chg="addSp delSp">
        <pc:chgData name="Richard Boyne" userId="54f2d3b7a01b2c64" providerId="LiveId" clId="{5E712A5E-81C5-4902-9324-EFAAAAFCCAE3}" dt="2019-09-09T12:06:46.893" v="34"/>
        <pc:sldMkLst>
          <pc:docMk/>
          <pc:sldMk cId="1558941422" sldId="299"/>
        </pc:sldMkLst>
        <pc:spChg chg="del">
          <ac:chgData name="Richard Boyne" userId="54f2d3b7a01b2c64" providerId="LiveId" clId="{5E712A5E-81C5-4902-9324-EFAAAAFCCAE3}" dt="2019-09-09T12:06:46.693" v="33" actId="478"/>
          <ac:spMkLst>
            <pc:docMk/>
            <pc:sldMk cId="1558941422" sldId="299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46.893" v="34"/>
          <ac:spMkLst>
            <pc:docMk/>
            <pc:sldMk cId="1558941422" sldId="299"/>
            <ac:spMk id="8" creationId="{450EA8D8-C35F-4CC7-B817-8FD1705B55F8}"/>
          </ac:spMkLst>
        </pc:spChg>
      </pc:sldChg>
      <pc:sldChg chg="addSp delSp">
        <pc:chgData name="Richard Boyne" userId="54f2d3b7a01b2c64" providerId="LiveId" clId="{5E712A5E-81C5-4902-9324-EFAAAAFCCAE3}" dt="2019-09-09T12:06:25.427" v="20"/>
        <pc:sldMkLst>
          <pc:docMk/>
          <pc:sldMk cId="1568313788" sldId="301"/>
        </pc:sldMkLst>
        <pc:spChg chg="del">
          <ac:chgData name="Richard Boyne" userId="54f2d3b7a01b2c64" providerId="LiveId" clId="{5E712A5E-81C5-4902-9324-EFAAAAFCCAE3}" dt="2019-09-09T12:06:24.794" v="19" actId="478"/>
          <ac:spMkLst>
            <pc:docMk/>
            <pc:sldMk cId="1568313788" sldId="301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25.427" v="20"/>
          <ac:spMkLst>
            <pc:docMk/>
            <pc:sldMk cId="1568313788" sldId="301"/>
            <ac:spMk id="9" creationId="{0790EF0A-1B82-481F-A549-810037E36C09}"/>
          </ac:spMkLst>
        </pc:spChg>
      </pc:sldChg>
      <pc:sldChg chg="addSp delSp">
        <pc:chgData name="Richard Boyne" userId="54f2d3b7a01b2c64" providerId="LiveId" clId="{5E712A5E-81C5-4902-9324-EFAAAAFCCAE3}" dt="2019-09-09T12:06:01.949" v="10"/>
        <pc:sldMkLst>
          <pc:docMk/>
          <pc:sldMk cId="1261301027" sldId="302"/>
        </pc:sldMkLst>
        <pc:spChg chg="del">
          <ac:chgData name="Richard Boyne" userId="54f2d3b7a01b2c64" providerId="LiveId" clId="{5E712A5E-81C5-4902-9324-EFAAAAFCCAE3}" dt="2019-09-09T12:06:01.801" v="9" actId="478"/>
          <ac:spMkLst>
            <pc:docMk/>
            <pc:sldMk cId="1261301027" sldId="302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01.949" v="10"/>
          <ac:spMkLst>
            <pc:docMk/>
            <pc:sldMk cId="1261301027" sldId="302"/>
            <ac:spMk id="12" creationId="{F6E95A98-5B62-4881-BCD7-11C6301433A0}"/>
          </ac:spMkLst>
        </pc:spChg>
      </pc:sldChg>
      <pc:sldChg chg="addSp delSp">
        <pc:chgData name="Richard Boyne" userId="54f2d3b7a01b2c64" providerId="LiveId" clId="{5E712A5E-81C5-4902-9324-EFAAAAFCCAE3}" dt="2019-09-09T12:06:39.432" v="30"/>
        <pc:sldMkLst>
          <pc:docMk/>
          <pc:sldMk cId="319553700" sldId="303"/>
        </pc:sldMkLst>
        <pc:spChg chg="del">
          <ac:chgData name="Richard Boyne" userId="54f2d3b7a01b2c64" providerId="LiveId" clId="{5E712A5E-81C5-4902-9324-EFAAAAFCCAE3}" dt="2019-09-09T12:06:38.861" v="29" actId="478"/>
          <ac:spMkLst>
            <pc:docMk/>
            <pc:sldMk cId="319553700" sldId="303"/>
            <ac:spMk id="3" creationId="{AEC000FB-0768-4D97-A47C-2F742F948DAC}"/>
          </ac:spMkLst>
        </pc:spChg>
        <pc:spChg chg="add">
          <ac:chgData name="Richard Boyne" userId="54f2d3b7a01b2c64" providerId="LiveId" clId="{5E712A5E-81C5-4902-9324-EFAAAAFCCAE3}" dt="2019-09-09T12:06:39.432" v="30"/>
          <ac:spMkLst>
            <pc:docMk/>
            <pc:sldMk cId="319553700" sldId="303"/>
            <ac:spMk id="11" creationId="{D9FB3AF4-8E18-4064-B7C1-43FC616BD134}"/>
          </ac:spMkLst>
        </pc:spChg>
      </pc:sldChg>
      <pc:sldChg chg="addSp delSp modSp">
        <pc:chgData name="Richard Boyne" userId="54f2d3b7a01b2c64" providerId="LiveId" clId="{5E712A5E-81C5-4902-9324-EFAAAAFCCAE3}" dt="2019-09-09T12:09:41.791" v="121" actId="165"/>
        <pc:sldMkLst>
          <pc:docMk/>
          <pc:sldMk cId="2374131501" sldId="304"/>
        </pc:sldMkLst>
        <pc:spChg chg="ord">
          <ac:chgData name="Richard Boyne" userId="54f2d3b7a01b2c64" providerId="LiveId" clId="{5E712A5E-81C5-4902-9324-EFAAAAFCCAE3}" dt="2019-09-09T12:08:00.419" v="87" actId="167"/>
          <ac:spMkLst>
            <pc:docMk/>
            <pc:sldMk cId="2374131501" sldId="304"/>
            <ac:spMk id="37" creationId="{992C5DC0-3C57-4243-B521-2DE956D25D45}"/>
          </ac:spMkLst>
        </pc:spChg>
        <pc:spChg chg="add mod">
          <ac:chgData name="Richard Boyne" userId="54f2d3b7a01b2c64" providerId="LiveId" clId="{5E712A5E-81C5-4902-9324-EFAAAAFCCAE3}" dt="2019-09-09T12:08:27.435" v="110" actId="164"/>
          <ac:spMkLst>
            <pc:docMk/>
            <pc:sldMk cId="2374131501" sldId="304"/>
            <ac:spMk id="40" creationId="{ED5D78DE-1C00-4206-98D9-64C93668A3C2}"/>
          </ac:spMkLst>
        </pc:spChg>
        <pc:grpChg chg="add mod topLvl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7" creationId="{DD49DD26-5044-44B9-A626-ABD3EC6755EA}"/>
          </ac:grpSpMkLst>
        </pc:grpChg>
        <pc:grpChg chg="add del mod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8" creationId="{70DFB151-F332-4F77-9002-E4AD8C834962}"/>
          </ac:grpSpMkLst>
        </pc:grpChg>
        <pc:grpChg chg="mod topLvl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16" creationId="{F22B5909-46D3-4EF0-A95C-D20CF608099B}"/>
          </ac:grpSpMkLst>
        </pc:grpChg>
        <pc:grpChg chg="mod topLvl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18" creationId="{4EAF00EF-12C7-466E-9191-0A5E37765452}"/>
          </ac:grpSpMkLst>
        </pc:grpChg>
        <pc:grpChg chg="mod topLvl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20" creationId="{061DB8DB-DCFC-461C-9EA4-236DEB2AEFD0}"/>
          </ac:grpSpMkLst>
        </pc:grpChg>
        <pc:grpChg chg="mod topLvl">
          <ac:chgData name="Richard Boyne" userId="54f2d3b7a01b2c64" providerId="LiveId" clId="{5E712A5E-81C5-4902-9324-EFAAAAFCCAE3}" dt="2019-09-09T12:09:41.791" v="121" actId="165"/>
          <ac:grpSpMkLst>
            <pc:docMk/>
            <pc:sldMk cId="2374131501" sldId="304"/>
            <ac:grpSpMk id="38" creationId="{C38FF7EF-FE46-422E-9D3A-1A8B4BF0E008}"/>
          </ac:grpSpMkLst>
        </pc:grpChg>
        <pc:graphicFrameChg chg="add mod modGraphic">
          <ac:chgData name="Richard Boyne" userId="54f2d3b7a01b2c64" providerId="LiveId" clId="{5E712A5E-81C5-4902-9324-EFAAAAFCCAE3}" dt="2019-09-09T12:08:27.435" v="110" actId="164"/>
          <ac:graphicFrameMkLst>
            <pc:docMk/>
            <pc:sldMk cId="2374131501" sldId="304"/>
            <ac:graphicFrameMk id="5" creationId="{ED1F2679-14E7-4746-A865-6A904DB8F771}"/>
          </ac:graphicFrameMkLst>
        </pc:graphicFrameChg>
        <pc:graphicFrameChg chg="mod">
          <ac:chgData name="Richard Boyne" userId="54f2d3b7a01b2c64" providerId="LiveId" clId="{5E712A5E-81C5-4902-9324-EFAAAAFCCAE3}" dt="2019-09-09T12:09:15.230" v="118" actId="1076"/>
          <ac:graphicFrameMkLst>
            <pc:docMk/>
            <pc:sldMk cId="2374131501" sldId="304"/>
            <ac:graphicFrameMk id="19" creationId="{E0D3F95D-D60B-4425-9678-1D53B3668BD2}"/>
          </ac:graphicFrameMkLst>
        </pc:graphicFrameChg>
      </pc:sldChg>
      <pc:sldChg chg="modSp modAnim">
        <pc:chgData name="Richard Boyne" userId="54f2d3b7a01b2c64" providerId="LiveId" clId="{5E712A5E-81C5-4902-9324-EFAAAAFCCAE3}" dt="2019-09-09T12:20:13.482" v="125"/>
        <pc:sldMkLst>
          <pc:docMk/>
          <pc:sldMk cId="2957439036" sldId="306"/>
        </pc:sldMkLst>
        <pc:spChg chg="mod">
          <ac:chgData name="Richard Boyne" userId="54f2d3b7a01b2c64" providerId="LiveId" clId="{5E712A5E-81C5-4902-9324-EFAAAAFCCAE3}" dt="2019-09-09T12:05:35.699" v="1" actId="20577"/>
          <ac:spMkLst>
            <pc:docMk/>
            <pc:sldMk cId="2957439036" sldId="306"/>
            <ac:spMk id="3" creationId="{AEC000FB-0768-4D97-A47C-2F742F948DA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49000" y="8604448"/>
            <a:ext cx="57600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defRPr sz="1200"/>
            </a:lvl1pPr>
          </a:lstStyle>
          <a:p>
            <a:pPr algn="ctr"/>
            <a:r>
              <a:rPr lang="en-GB" sz="700" cap="all" dirty="0">
                <a:solidFill>
                  <a:schemeClr val="accent1"/>
                </a:solidFill>
                <a:latin typeface="WintershallDea-Medium" panose="020B0603040000020003" pitchFamily="34" charset="0"/>
              </a:rPr>
              <a:t>Footnote Topic, Author, Dat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071662" y="8783960"/>
            <a:ext cx="714676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>
              <a:defRPr sz="1200"/>
            </a:lvl1pPr>
          </a:lstStyle>
          <a:p>
            <a:pPr algn="ctr"/>
            <a:r>
              <a:rPr lang="en-GB" sz="700" dirty="0">
                <a:solidFill>
                  <a:schemeClr val="accent1"/>
                </a:solidFill>
                <a:latin typeface="WintershallDea" panose="020B0503040000020003" pitchFamily="34" charset="0"/>
              </a:rPr>
              <a:t>Page </a:t>
            </a:r>
            <a:fld id="{86063E3E-9881-4CD8-A7A5-93416C4F5AA9}" type="slidenum">
              <a:rPr lang="en-GB" sz="700" smtClean="0">
                <a:solidFill>
                  <a:schemeClr val="accent1"/>
                </a:solidFill>
                <a:latin typeface="WintershallDea" panose="020B0503040000020003" pitchFamily="34" charset="0"/>
              </a:rPr>
              <a:pPr algn="ctr"/>
              <a:t>‹#›</a:t>
            </a:fld>
            <a:endParaRPr lang="en-GB" sz="700" dirty="0">
              <a:solidFill>
                <a:schemeClr val="accent1"/>
              </a:solidFill>
              <a:latin typeface="WintershallDea" panose="020B0503040000020003" pitchFamily="34" charset="0"/>
            </a:endParaRPr>
          </a:p>
        </p:txBody>
      </p:sp>
      <p:sp>
        <p:nvSpPr>
          <p:cNvPr id="6" name="Textplatzhalter 11"/>
          <p:cNvSpPr txBox="1">
            <a:spLocks/>
          </p:cNvSpPr>
          <p:nvPr/>
        </p:nvSpPr>
        <p:spPr bwMode="gray">
          <a:xfrm>
            <a:off x="5769260" y="385503"/>
            <a:ext cx="468052" cy="35225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SzPct val="110000"/>
              <a:buFont typeface="Arial" panose="020B0604020202020204" pitchFamily="34" charset="0"/>
              <a:buNone/>
              <a:defRPr sz="100" kern="1200" cap="all" baseline="0">
                <a:noFill/>
                <a:latin typeface="+mn-lt"/>
                <a:ea typeface="+mn-ea"/>
                <a:cs typeface="+mn-cs"/>
              </a:defRPr>
            </a:lvl1pPr>
            <a:lvl2pPr marL="288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WintershallDea" panose="020B0503040000020003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43973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971550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>
              <a:latin typeface="WintershallDea" panose="020B0503040000020003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56999" y="4400550"/>
            <a:ext cx="5570763" cy="409588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952" y="8841377"/>
            <a:ext cx="6534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ctr"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GB" noProof="0" dirty="0">
                <a:latin typeface="WintershallDea" panose="020B0503040000020003" pitchFamily="34" charset="0"/>
              </a:rPr>
              <a:t>Page </a:t>
            </a:r>
            <a:fld id="{0CD6A494-FFFE-462B-BF23-08BDD6DE7CD7}" type="slidenum">
              <a:rPr lang="en-GB" noProof="0" smtClean="0">
                <a:latin typeface="WintershallDea" panose="020B0503040000020003" pitchFamily="34" charset="0"/>
              </a:rPr>
              <a:pPr/>
              <a:t>‹#›</a:t>
            </a:fld>
            <a:endParaRPr lang="en-GB" noProof="0" dirty="0">
              <a:latin typeface="WintershallDea" panose="020B0503040000020003" pitchFamily="34" charset="0"/>
            </a:endParaRPr>
          </a:p>
        </p:txBody>
      </p:sp>
      <p:sp>
        <p:nvSpPr>
          <p:cNvPr id="8" name="Textplatzhalter 11"/>
          <p:cNvSpPr txBox="1">
            <a:spLocks/>
          </p:cNvSpPr>
          <p:nvPr/>
        </p:nvSpPr>
        <p:spPr bwMode="gray">
          <a:xfrm>
            <a:off x="5769260" y="385503"/>
            <a:ext cx="468052" cy="35225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SzPct val="110000"/>
              <a:buFont typeface="Arial" panose="020B0604020202020204" pitchFamily="34" charset="0"/>
              <a:buNone/>
              <a:defRPr sz="100" kern="1200" cap="all" baseline="0">
                <a:noFill/>
                <a:latin typeface="+mn-lt"/>
                <a:ea typeface="+mn-ea"/>
                <a:cs typeface="+mn-cs"/>
              </a:defRPr>
            </a:lvl1pPr>
            <a:lvl2pPr marL="288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latin typeface="WintershallDea" panose="020B0503040000020003" pitchFamily="34" charset="0"/>
              </a:rPr>
              <a:t>x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4"/>
          </p:nvPr>
        </p:nvSpPr>
        <p:spPr>
          <a:xfrm>
            <a:off x="656692" y="8676456"/>
            <a:ext cx="55800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WintershallDea-Medium" panose="020B0603040000020003" pitchFamily="34" charset="0"/>
              </a:defRPr>
            </a:lvl1pPr>
          </a:lstStyle>
          <a:p>
            <a:r>
              <a:rPr lang="en-GB" noProof="0" dirty="0"/>
              <a:t>Footnote Topic, Author, Date </a:t>
            </a:r>
          </a:p>
        </p:txBody>
      </p:sp>
    </p:spTree>
    <p:extLst>
      <p:ext uri="{BB962C8B-B14F-4D97-AF65-F5344CB8AC3E}">
        <p14:creationId xmlns:p14="http://schemas.microsoft.com/office/powerpoint/2010/main" val="1817115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200" kern="1200">
        <a:solidFill>
          <a:schemeClr val="tx2"/>
        </a:solidFill>
        <a:latin typeface="WintershallDea" panose="020B0503040000020003" pitchFamily="34" charset="0"/>
        <a:ea typeface="+mn-ea"/>
        <a:cs typeface="+mn-cs"/>
        <a:sym typeface="WintershallDea" panose="020B0503040000020003" pitchFamily="34" charset="0"/>
      </a:defRPr>
    </a:lvl1pPr>
    <a:lvl2pPr marL="288000" indent="-288000" algn="l" defTabSz="914400" rtl="0" eaLnBrk="1" latinLnBrk="0" hangingPunct="1">
      <a:lnSpc>
        <a:spcPct val="110000"/>
      </a:lnSpc>
      <a:spcBef>
        <a:spcPts val="600"/>
      </a:spcBef>
      <a:buSzPct val="85000"/>
      <a:buFont typeface="Symbol" panose="05050102010706020507" pitchFamily="18" charset="2"/>
      <a:buChar char="·"/>
      <a:defRPr sz="1200" kern="1200">
        <a:solidFill>
          <a:schemeClr val="tx2"/>
        </a:solidFill>
        <a:latin typeface="WintershallDea" panose="020B0503040000020003" pitchFamily="34" charset="0"/>
        <a:ea typeface="+mn-ea"/>
        <a:cs typeface="+mn-cs"/>
        <a:sym typeface="WintershallDea" panose="020B0503040000020003" pitchFamily="34" charset="0"/>
      </a:defRPr>
    </a:lvl2pPr>
    <a:lvl3pPr marL="576000" indent="-288000" algn="l" defTabSz="914400" rtl="0" eaLnBrk="1" latinLnBrk="0" hangingPunct="1">
      <a:lnSpc>
        <a:spcPct val="110000"/>
      </a:lnSpc>
      <a:spcBef>
        <a:spcPts val="200"/>
      </a:spcBef>
      <a:buSzPct val="85000"/>
      <a:buFont typeface="Symbol" panose="05050102010706020507" pitchFamily="18" charset="2"/>
      <a:buChar char="·"/>
      <a:defRPr sz="1200" kern="1200">
        <a:solidFill>
          <a:schemeClr val="tx2"/>
        </a:solidFill>
        <a:latin typeface="WintershallDea" panose="020B0503040000020003" pitchFamily="34" charset="0"/>
        <a:ea typeface="+mn-ea"/>
        <a:cs typeface="+mn-cs"/>
        <a:sym typeface="WintershallDea" panose="020B0503040000020003" pitchFamily="34" charset="0"/>
      </a:defRPr>
    </a:lvl3pPr>
    <a:lvl4pPr marL="864000" indent="-288000" algn="l" defTabSz="914400" rtl="0" eaLnBrk="1" latinLnBrk="0" hangingPunct="1">
      <a:lnSpc>
        <a:spcPct val="110000"/>
      </a:lnSpc>
      <a:buSzPct val="85000"/>
      <a:buFont typeface="Symbol" panose="05050102010706020507" pitchFamily="18" charset="2"/>
      <a:buChar char="·"/>
      <a:defRPr sz="1200" kern="1200">
        <a:solidFill>
          <a:schemeClr val="tx2"/>
        </a:solidFill>
        <a:latin typeface="WintershallDea" panose="020B0503040000020003" pitchFamily="34" charset="0"/>
        <a:ea typeface="+mn-ea"/>
        <a:cs typeface="+mn-cs"/>
        <a:sym typeface="WintershallDea" panose="020B0503040000020003" pitchFamily="34" charset="0"/>
      </a:defRPr>
    </a:lvl4pPr>
    <a:lvl5pPr marL="1152000" indent="-288000" algn="l" defTabSz="914400" rtl="0" eaLnBrk="1" latinLnBrk="0" hangingPunct="1">
      <a:lnSpc>
        <a:spcPct val="110000"/>
      </a:lnSpc>
      <a:buSzPct val="85000"/>
      <a:buFont typeface="Symbol" panose="05050102010706020507" pitchFamily="18" charset="2"/>
      <a:buChar char="·"/>
      <a:defRPr sz="1200" kern="1200">
        <a:solidFill>
          <a:schemeClr val="tx2"/>
        </a:solidFill>
        <a:latin typeface="WintershallDea" panose="020B0503040000020003" pitchFamily="34" charset="0"/>
        <a:ea typeface="+mn-ea"/>
        <a:cs typeface="+mn-cs"/>
        <a:sym typeface="WintershallDea" panose="020B05030400000200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8" userDrawn="1">
          <p15:clr>
            <a:srgbClr val="F26B43"/>
          </p15:clr>
        </p15:guide>
        <p15:guide id="2" pos="3923" userDrawn="1">
          <p15:clr>
            <a:srgbClr val="F26B43"/>
          </p15:clr>
        </p15:guide>
        <p15:guide id="4" orient="horz" pos="277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47688" y="971550"/>
            <a:ext cx="5762625" cy="3241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1</a:t>
            </a:fld>
            <a:endParaRPr lang="de-DE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733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47688" y="971550"/>
            <a:ext cx="5762625" cy="3241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2</a:t>
            </a:fld>
            <a:endParaRPr lang="de-DE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234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>
                <a:latin typeface="WintershallDea" panose="020B0503040000020003" pitchFamily="34" charset="0"/>
              </a:rPr>
              <a:t>Page </a:t>
            </a:r>
            <a:fld id="{0CD6A494-FFFE-462B-BF23-08BDD6DE7CD7}" type="slidenum">
              <a:rPr lang="en-GB" noProof="0" smtClean="0">
                <a:latin typeface="WintershallDea" panose="020B0503040000020003" pitchFamily="34" charset="0"/>
              </a:rPr>
              <a:pPr/>
              <a:t>10</a:t>
            </a:fld>
            <a:endParaRPr lang="en-GB" noProof="0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44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47688" y="971550"/>
            <a:ext cx="5762625" cy="3241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21</a:t>
            </a:fld>
            <a:endParaRPr lang="de-DE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818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47688" y="971550"/>
            <a:ext cx="5762625" cy="3241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22</a:t>
            </a:fld>
            <a:endParaRPr lang="de-DE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93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15587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4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66072" y="4834086"/>
            <a:ext cx="2059858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716390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48797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32757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596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51" userDrawn="1">
          <p15:clr>
            <a:srgbClr val="FBAE40"/>
          </p15:clr>
        </p15:guide>
        <p15:guide id="4" pos="501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8224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97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23795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489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 userDrawn="1">
          <p15:clr>
            <a:srgbClr val="FBAE40"/>
          </p15:clr>
        </p15:guide>
        <p15:guide id="3" pos="422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7330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/>
          <a:p>
            <a:r>
              <a:rPr lang="en-GB" noProof="0" dirty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808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 userDrawn="1">
          <p15:clr>
            <a:srgbClr val="FBAE40"/>
          </p15:clr>
        </p15:guide>
        <p15:guide id="3" pos="422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55052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/>
          <a:p>
            <a:r>
              <a:rPr lang="en-GB" noProof="0" dirty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268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 userDrawn="1">
          <p15:clr>
            <a:srgbClr val="FBAE40"/>
          </p15:clr>
        </p15:guide>
        <p15:guide id="3" pos="422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94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03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28636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90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884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8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066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4788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4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66072" y="4834086"/>
            <a:ext cx="2059858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094399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12126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/>
            </a:lvl1pPr>
          </a:lstStyle>
          <a:p>
            <a:r>
              <a:rPr lang="en-GB" noProof="0" dirty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5648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 dirty="0"/>
              <a:t>Agenda Topic 1</a:t>
            </a:r>
          </a:p>
          <a:p>
            <a:pPr lvl="1"/>
            <a:r>
              <a:rPr lang="en-GB" noProof="0" dirty="0" err="1"/>
              <a:t>Subitem</a:t>
            </a:r>
            <a:r>
              <a:rPr lang="en-GB" noProof="0" dirty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52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0495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6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780639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0106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6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894447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68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42825"/>
            <a:ext cx="4716000" cy="203133"/>
          </a:xfrm>
        </p:spPr>
        <p:txBody>
          <a:bodyPr wrap="square"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621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74484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42825"/>
            <a:ext cx="4716000" cy="203133"/>
          </a:xfrm>
        </p:spPr>
        <p:txBody>
          <a:bodyPr wrap="square"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06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20351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0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/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42825"/>
            <a:ext cx="4716000" cy="203133"/>
          </a:xfrm>
        </p:spPr>
        <p:txBody>
          <a:bodyPr anchor="b">
            <a:spAutoFit/>
          </a:bodyPr>
          <a:lstStyle>
            <a:lvl1pPr algn="ctr"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70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2317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32757"/>
            <a:ext cx="10800000" cy="203133"/>
          </a:xfrm>
        </p:spPr>
        <p:txBody>
          <a:bodyPr anchor="b">
            <a:sp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 dirty="0"/>
              <a:t>Footnote Topic, Author, Dat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49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149226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344" imgH="345" progId="TCLayout.ActiveDocument.1">
                  <p:embed/>
                </p:oleObj>
              </mc:Choice>
              <mc:Fallback>
                <p:oleObj name="think-cell Folie" r:id="rId2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grpSp>
        <p:nvGrpSpPr>
          <p:cNvPr id="48" name="Gruppieren 4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</a:lstStyle>
          <a:p>
            <a:r>
              <a:rPr lang="en-GB" noProof="0" dirty="0"/>
              <a:t>Footnote Topic, Author, Date 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76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9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 userDrawn="1">
          <p15:clr>
            <a:srgbClr val="F26B43"/>
          </p15:clr>
        </p15:guide>
        <p15:guide id="3" orient="horz" pos="1638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9" pos="7242" userDrawn="1">
          <p15:clr>
            <a:srgbClr val="F26B43"/>
          </p15:clr>
        </p15:guide>
        <p15:guide id="10" pos="438" userDrawn="1">
          <p15:clr>
            <a:srgbClr val="F26B43"/>
          </p15:clr>
        </p15:guide>
        <p15:guide id="13" pos="38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0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msc-acse.github.io/acse-9-independent-research-project-Boyne272/index.htm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0.png"/><Relationship Id="rId18" Type="http://schemas.openxmlformats.org/officeDocument/2006/relationships/slide" Target="slide10.xml"/><Relationship Id="rId26" Type="http://schemas.openxmlformats.org/officeDocument/2006/relationships/image" Target="../media/image49.png"/><Relationship Id="rId39" Type="http://schemas.openxmlformats.org/officeDocument/2006/relationships/slide" Target="slide1.xml"/><Relationship Id="rId3" Type="http://schemas.openxmlformats.org/officeDocument/2006/relationships/tags" Target="../tags/tag45.xml"/><Relationship Id="rId21" Type="http://schemas.openxmlformats.org/officeDocument/2006/relationships/slide" Target="slide14.xml"/><Relationship Id="rId42" Type="http://schemas.openxmlformats.org/officeDocument/2006/relationships/image" Target="../media/image53.png"/><Relationship Id="rId7" Type="http://schemas.openxmlformats.org/officeDocument/2006/relationships/image" Target="../media/image1.emf"/><Relationship Id="rId12" Type="http://schemas.openxmlformats.org/officeDocument/2006/relationships/slide" Target="slide4.xml"/><Relationship Id="rId17" Type="http://schemas.openxmlformats.org/officeDocument/2006/relationships/image" Target="../media/image46.png"/><Relationship Id="rId25" Type="http://schemas.openxmlformats.org/officeDocument/2006/relationships/image" Target="../media/image490.png"/><Relationship Id="rId38" Type="http://schemas.openxmlformats.org/officeDocument/2006/relationships/image" Target="../media/image52.png"/><Relationship Id="rId2" Type="http://schemas.openxmlformats.org/officeDocument/2006/relationships/tags" Target="../tags/tag44.xml"/><Relationship Id="rId16" Type="http://schemas.openxmlformats.org/officeDocument/2006/relationships/image" Target="../media/image460.png"/><Relationship Id="rId20" Type="http://schemas.openxmlformats.org/officeDocument/2006/relationships/image" Target="../media/image47.png"/><Relationship Id="rId41" Type="http://schemas.openxmlformats.org/officeDocument/2006/relationships/image" Target="../media/image51.png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9.bin"/><Relationship Id="rId24" Type="http://schemas.openxmlformats.org/officeDocument/2006/relationships/slide" Target="slide17.xml"/><Relationship Id="rId40" Type="http://schemas.openxmlformats.org/officeDocument/2006/relationships/image" Target="../media/image50.png"/><Relationship Id="rId37" Type="http://schemas.openxmlformats.org/officeDocument/2006/relationships/image" Target="../media/image530.png"/><Relationship Id="rId5" Type="http://schemas.openxmlformats.org/officeDocument/2006/relationships/notesSlide" Target="../notesSlides/notesSlide5.xml"/><Relationship Id="rId15" Type="http://schemas.openxmlformats.org/officeDocument/2006/relationships/slide" Target="slide6.xml"/><Relationship Id="rId23" Type="http://schemas.openxmlformats.org/officeDocument/2006/relationships/image" Target="../media/image48.png"/><Relationship Id="rId28" Type="http://schemas.openxmlformats.org/officeDocument/2006/relationships/image" Target="../media/image500.png"/><Relationship Id="rId36" Type="http://schemas.openxmlformats.org/officeDocument/2006/relationships/slide" Target="slide16.xml"/><Relationship Id="rId19" Type="http://schemas.openxmlformats.org/officeDocument/2006/relationships/image" Target="../media/image470.png"/><Relationship Id="rId31" Type="http://schemas.openxmlformats.org/officeDocument/2006/relationships/image" Target="../media/image510.png"/><Relationship Id="rId44" Type="http://schemas.openxmlformats.org/officeDocument/2006/relationships/image" Target="../media/image55.png"/><Relationship Id="rId4" Type="http://schemas.openxmlformats.org/officeDocument/2006/relationships/slideLayout" Target="../slideLayouts/slideLayout17.xml"/><Relationship Id="rId14" Type="http://schemas.openxmlformats.org/officeDocument/2006/relationships/image" Target="../media/image45.png"/><Relationship Id="rId22" Type="http://schemas.openxmlformats.org/officeDocument/2006/relationships/image" Target="../media/image480.png"/><Relationship Id="rId27" Type="http://schemas.openxmlformats.org/officeDocument/2006/relationships/slide" Target="slide5.xml"/><Relationship Id="rId30" Type="http://schemas.openxmlformats.org/officeDocument/2006/relationships/slide" Target="slide7.xml"/><Relationship Id="rId43" Type="http://schemas.openxmlformats.org/officeDocument/2006/relationships/image" Target="../media/image54.png"/><Relationship Id="rId8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"/><Relationship Id="rId2" Type="http://schemas.openxmlformats.org/officeDocument/2006/relationships/image" Target="../media/image8.ti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13.png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3.xml"/><Relationship Id="rId4" Type="http://schemas.openxmlformats.org/officeDocument/2006/relationships/video" Target="../media/media2.mp4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80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35D520-B5D0-4C97-9A9E-CC8B9B2F9D8E}"/>
              </a:ext>
            </a:extLst>
          </p:cNvPr>
          <p:cNvSpPr txBox="1"/>
          <p:nvPr/>
        </p:nvSpPr>
        <p:spPr>
          <a:xfrm>
            <a:off x="785410" y="2801956"/>
            <a:ext cx="10621180" cy="6432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4000" dirty="0">
                <a:solidFill>
                  <a:schemeClr val="bg1"/>
                </a:solidFill>
                <a:latin typeface="+mj-lt"/>
              </a:rPr>
              <a:t>Automated Thin Section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89EDAF-D43E-4EBD-BDC8-D0143ECC2E15}"/>
              </a:ext>
            </a:extLst>
          </p:cNvPr>
          <p:cNvSpPr txBox="1"/>
          <p:nvPr/>
        </p:nvSpPr>
        <p:spPr>
          <a:xfrm>
            <a:off x="785410" y="6005010"/>
            <a:ext cx="10621180" cy="85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Imperial College London Department of Earth Science and Engineering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10</a:t>
            </a:r>
            <a:r>
              <a:rPr lang="en-US" sz="1400" baseline="30000" dirty="0">
                <a:solidFill>
                  <a:schemeClr val="bg1"/>
                </a:solidFill>
                <a:latin typeface="+mj-lt"/>
              </a:rPr>
              <a:t>th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September 2019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862E80-4073-4E6E-B71C-BCB9F003C496}"/>
              </a:ext>
            </a:extLst>
          </p:cNvPr>
          <p:cNvSpPr/>
          <p:nvPr/>
        </p:nvSpPr>
        <p:spPr>
          <a:xfrm>
            <a:off x="3888792" y="4341889"/>
            <a:ext cx="4414414" cy="8294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2000" dirty="0">
                <a:solidFill>
                  <a:schemeClr val="bg1"/>
                </a:solidFill>
              </a:rPr>
              <a:t>ACSE MSc Independent Research Project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2000" dirty="0">
                <a:solidFill>
                  <a:schemeClr val="bg1"/>
                </a:solidFill>
              </a:rPr>
              <a:t>Richard Boyne (CID 01057503)</a:t>
            </a:r>
          </a:p>
        </p:txBody>
      </p:sp>
      <p:sp>
        <p:nvSpPr>
          <p:cNvPr id="7" name="Rectangle 6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FF7C7639-91EA-48B6-9FFE-DB360E12434E}"/>
              </a:ext>
            </a:extLst>
          </p:cNvPr>
          <p:cNvSpPr/>
          <p:nvPr/>
        </p:nvSpPr>
        <p:spPr>
          <a:xfrm>
            <a:off x="3539716" y="6005011"/>
            <a:ext cx="5112568" cy="668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6520468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>
            <a:extLst>
              <a:ext uri="{FF2B5EF4-FFF2-40B4-BE49-F238E27FC236}">
                <a16:creationId xmlns:a16="http://schemas.microsoft.com/office/drawing/2014/main" id="{D4D26991-CAFA-4CCC-8F1F-7CBECBA3FFD8}"/>
              </a:ext>
            </a:extLst>
          </p:cNvPr>
          <p:cNvSpPr txBox="1">
            <a:spLocks/>
          </p:cNvSpPr>
          <p:nvPr/>
        </p:nvSpPr>
        <p:spPr bwMode="gray">
          <a:xfrm>
            <a:off x="587388" y="3486320"/>
            <a:ext cx="6552728" cy="26069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Feature extraction defined by user:</a:t>
            </a:r>
          </a:p>
          <a:p>
            <a:pPr lvl="1">
              <a:lnSpc>
                <a:spcPct val="150000"/>
              </a:lnSpc>
            </a:pPr>
            <a:endParaRPr lang="en-GB" sz="1800" dirty="0"/>
          </a:p>
          <a:p>
            <a:pPr lvl="1">
              <a:lnSpc>
                <a:spcPct val="150000"/>
              </a:lnSpc>
            </a:pPr>
            <a:endParaRPr lang="en-GB" sz="1800" dirty="0"/>
          </a:p>
          <a:p>
            <a:pPr marL="252000" lvl="1" indent="0">
              <a:lnSpc>
                <a:spcPct val="150000"/>
              </a:lnSpc>
              <a:buNone/>
            </a:pPr>
            <a:endParaRPr lang="en-GB" sz="1800" dirty="0"/>
          </a:p>
          <a:p>
            <a:pPr lvl="1">
              <a:lnSpc>
                <a:spcPct val="150000"/>
              </a:lnSpc>
            </a:pPr>
            <a:r>
              <a:rPr lang="en-GB" sz="1800" dirty="0"/>
              <a:t>Allows for variable feature selection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Allows for external clustering algorithms</a:t>
            </a:r>
          </a:p>
          <a:p>
            <a:pPr lvl="1">
              <a:lnSpc>
                <a:spcPct val="150000"/>
              </a:lnSpc>
            </a:pPr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0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Segment Cluste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8D1C69-9F68-41FD-83EF-DAB4B99EB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2369" y="368660"/>
            <a:ext cx="2742662" cy="5736870"/>
          </a:xfrm>
          <a:prstGeom prst="rect">
            <a:avLst/>
          </a:prstGeom>
        </p:spPr>
      </p:pic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59C6FBE-B542-48D8-965A-0F095F48F0E2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6552728" cy="1512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Unsupervised clustering of segments with common material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Used to merge over-segmented regions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Versatile to varying imag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E63DBB-21A7-4ADC-B25B-63FA55B05A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400" y="4005064"/>
            <a:ext cx="6639030" cy="923074"/>
          </a:xfrm>
          <a:prstGeom prst="rect">
            <a:avLst/>
          </a:prstGeom>
        </p:spPr>
      </p:pic>
      <p:sp>
        <p:nvSpPr>
          <p:cNvPr id="8" name="L-Shape 7">
            <a:extLst>
              <a:ext uri="{FF2B5EF4-FFF2-40B4-BE49-F238E27FC236}">
                <a16:creationId xmlns:a16="http://schemas.microsoft.com/office/drawing/2014/main" id="{8D5D3B37-273A-4705-9B3B-F048504C2F8B}"/>
              </a:ext>
            </a:extLst>
          </p:cNvPr>
          <p:cNvSpPr/>
          <p:nvPr/>
        </p:nvSpPr>
        <p:spPr>
          <a:xfrm rot="10800000" flipH="1">
            <a:off x="7978243" y="2600907"/>
            <a:ext cx="1862174" cy="2472107"/>
          </a:xfrm>
          <a:prstGeom prst="corner">
            <a:avLst>
              <a:gd name="adj1" fmla="val 35678"/>
              <a:gd name="adj2" fmla="val 52046"/>
            </a:avLst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1" name="Rectangle 10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C0DA375A-B18B-49CE-8AA0-945174E022DD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BB36B17-078E-4BFC-AB89-E9144CA5FA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4031615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6" grpId="0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1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dditional: AGNES Distan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B83EF9-011A-46E4-A8AF-0AFA62B8F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1211" y="1436482"/>
            <a:ext cx="8148378" cy="43238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415C67-13C1-497A-95E2-C2D14888C62D}"/>
              </a:ext>
            </a:extLst>
          </p:cNvPr>
          <p:cNvSpPr txBox="1"/>
          <p:nvPr/>
        </p:nvSpPr>
        <p:spPr>
          <a:xfrm>
            <a:off x="2021211" y="5877272"/>
            <a:ext cx="8467277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/>
              <a:t>Merging criteria example for AGNES clustering using dummy data 7 clusters (seen before)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A888979-26A6-43FF-8136-C44808A8899F}"/>
              </a:ext>
            </a:extLst>
          </p:cNvPr>
          <p:cNvCxnSpPr/>
          <p:nvPr/>
        </p:nvCxnSpPr>
        <p:spPr>
          <a:xfrm>
            <a:off x="8976320" y="2492896"/>
            <a:ext cx="144016" cy="288032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360C5CF-5D12-4605-8E8E-5ACB0C0121C8}"/>
              </a:ext>
            </a:extLst>
          </p:cNvPr>
          <p:cNvSpPr txBox="1"/>
          <p:nvPr/>
        </p:nvSpPr>
        <p:spPr>
          <a:xfrm>
            <a:off x="8460035" y="2263333"/>
            <a:ext cx="720080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rgbClr val="00B050"/>
                </a:solidFill>
              </a:rPr>
              <a:t>7 Clusters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0790EF0A-1B82-481F-A549-810037E36C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15683137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2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GN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51E5CA-2674-4A00-A352-244C13803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040" y="1268760"/>
            <a:ext cx="4411848" cy="4478236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C673064-EBB4-469A-BBF9-C96D0CD0F868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5042991" cy="1944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One of many possible algorithms</a:t>
            </a:r>
            <a:endParaRPr lang="en-US" sz="1800" dirty="0"/>
          </a:p>
          <a:p>
            <a:pPr lvl="1">
              <a:lnSpc>
                <a:spcPct val="150000"/>
              </a:lnSpc>
            </a:pPr>
            <a:r>
              <a:rPr lang="en-US" sz="1800" dirty="0"/>
              <a:t>Agglomerative</a:t>
            </a:r>
            <a:r>
              <a:rPr lang="en-GB" sz="1800" dirty="0"/>
              <a:t> clustering (bottom up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5F1118-3C46-4697-ACAD-F1DD9E2AC7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2643638"/>
            <a:ext cx="3943900" cy="85737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A998331-C525-488B-9211-7E038F1597DF}"/>
              </a:ext>
            </a:extLst>
          </p:cNvPr>
          <p:cNvSpPr txBox="1"/>
          <p:nvPr/>
        </p:nvSpPr>
        <p:spPr>
          <a:xfrm>
            <a:off x="7032104" y="5805264"/>
            <a:ext cx="3511971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200" dirty="0">
                <a:solidFill>
                  <a:schemeClr val="tx2"/>
                </a:solidFill>
              </a:rPr>
              <a:t>Example AGNES clustering on 2D  dummy data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97112A6-EB17-4115-B06F-A2251508C4A7}"/>
              </a:ext>
            </a:extLst>
          </p:cNvPr>
          <p:cNvSpPr txBox="1">
            <a:spLocks/>
          </p:cNvSpPr>
          <p:nvPr/>
        </p:nvSpPr>
        <p:spPr bwMode="gray">
          <a:xfrm>
            <a:off x="587388" y="3998960"/>
            <a:ext cx="5042991" cy="15182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Determines number of clusters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Multiple termination criteria and distance metrics implemented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32F910E-3747-4B26-AFAB-BB04DCC0C80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2435090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3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Clustering Difficult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BCBB39-86C8-40EA-B4A0-BFEA04485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9979" y="3573016"/>
            <a:ext cx="2984333" cy="24974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F1205E-4604-4155-B43F-C6ECCE8B71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8328" y="3573016"/>
            <a:ext cx="2971688" cy="249748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platzhalter 6">
                <a:extLst>
                  <a:ext uri="{FF2B5EF4-FFF2-40B4-BE49-F238E27FC236}">
                    <a16:creationId xmlns:a16="http://schemas.microsoft.com/office/drawing/2014/main" id="{26D82042-7BF5-469C-94AD-B64C4009A8AB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87388" y="1700212"/>
                <a:ext cx="6228692" cy="134595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52000" indent="-252000" algn="l" defTabSz="914400" rtl="0" eaLnBrk="1" latinLnBrk="0" hangingPunct="1">
                  <a:lnSpc>
                    <a:spcPct val="110000"/>
                  </a:lnSpc>
                  <a:spcBef>
                    <a:spcPts val="1000"/>
                  </a:spcBef>
                  <a:buSzPct val="100000"/>
                  <a:buFont typeface="+mj-lt"/>
                  <a:buAutoNum type="arabicPeriod"/>
                  <a:defRPr sz="1800" kern="1200" baseline="0">
                    <a:solidFill>
                      <a:schemeClr val="tx2"/>
                    </a:solidFill>
                    <a:latin typeface="WintershallDea-Medium" panose="020B0603040000020003" pitchFamily="34" charset="0"/>
                    <a:ea typeface="+mn-ea"/>
                    <a:cs typeface="+mn-cs"/>
                    <a:sym typeface="WintershallDea" panose="020B0503040000020003" pitchFamily="34" charset="0"/>
                  </a:defRPr>
                </a:lvl1pPr>
                <a:lvl2pPr marL="432000" indent="-180000" algn="l" defTabSz="914400" rtl="0" eaLnBrk="1" latinLnBrk="0" hangingPunct="1">
                  <a:lnSpc>
                    <a:spcPct val="110000"/>
                  </a:lnSpc>
                  <a:spcBef>
                    <a:spcPts val="10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1200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88000" algn="l" defTabSz="914400" rtl="0" eaLnBrk="1" latinLnBrk="0" hangingPunct="1">
                  <a:lnSpc>
                    <a:spcPct val="110000"/>
                  </a:lnSpc>
                  <a:spcBef>
                    <a:spcPts val="20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3pPr>
                <a:lvl4pPr marL="864000" indent="-288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4pPr>
                <a:lvl5pPr marL="1152000" indent="-288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en-GB" sz="1800" dirty="0"/>
                  <a:t>Distance clustering </a:t>
                </a:r>
                <a14:m>
                  <m:oMath xmlns:m="http://schemas.openxmlformats.org/officeDocument/2006/math">
                    <m:r>
                      <a:rPr lang="en-GB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GB" sz="1800" dirty="0"/>
                  <a:t> feature scaling required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GB" sz="1800" dirty="0"/>
                  <a:t>Difficulties combining texture and colour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GB" sz="1800" dirty="0"/>
                  <a:t>Either individually insufficient</a:t>
                </a:r>
              </a:p>
            </p:txBody>
          </p:sp>
        </mc:Choice>
        <mc:Fallback xmlns="">
          <p:sp>
            <p:nvSpPr>
              <p:cNvPr id="9" name="Textplatzhalter 6">
                <a:extLst>
                  <a:ext uri="{FF2B5EF4-FFF2-40B4-BE49-F238E27FC236}">
                    <a16:creationId xmlns:a16="http://schemas.microsoft.com/office/drawing/2014/main" id="{26D82042-7BF5-469C-94AD-B64C4009A8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87388" y="1700212"/>
                <a:ext cx="6228692" cy="1345950"/>
              </a:xfrm>
              <a:prstGeom prst="rect">
                <a:avLst/>
              </a:prstGeom>
              <a:blipFill>
                <a:blip r:embed="rId4"/>
                <a:stretch>
                  <a:fillRect b="-9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9A9FC6D6-EF3A-4A1C-BD65-6AEBBE8102D1}"/>
              </a:ext>
            </a:extLst>
          </p:cNvPr>
          <p:cNvSpPr txBox="1">
            <a:spLocks/>
          </p:cNvSpPr>
          <p:nvPr/>
        </p:nvSpPr>
        <p:spPr bwMode="gray">
          <a:xfrm>
            <a:off x="587388" y="5445224"/>
            <a:ext cx="6228692" cy="7659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Colour clustering only valid for coarse labelling </a:t>
            </a:r>
          </a:p>
          <a:p>
            <a:pPr marL="252000" lvl="1" indent="0">
              <a:lnSpc>
                <a:spcPct val="100000"/>
              </a:lnSpc>
              <a:buNone/>
            </a:pPr>
            <a:r>
              <a:rPr lang="en-GB" sz="1800" dirty="0"/>
              <a:t>	(i.e. rock, pore, clay)</a:t>
            </a:r>
            <a:endParaRPr lang="en-US" sz="1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A477AE-63CA-46C6-8973-B194732DB6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2495" y="764704"/>
            <a:ext cx="2983633" cy="249748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050E5E7-0433-4B85-96BF-94260762AF28}"/>
              </a:ext>
            </a:extLst>
          </p:cNvPr>
          <p:cNvSpPr txBox="1"/>
          <p:nvPr/>
        </p:nvSpPr>
        <p:spPr>
          <a:xfrm>
            <a:off x="7412495" y="548680"/>
            <a:ext cx="2983633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Original Ima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67635E5-8E59-46C1-89E0-26044DFBC932}"/>
              </a:ext>
            </a:extLst>
          </p:cNvPr>
          <p:cNvSpPr txBox="1"/>
          <p:nvPr/>
        </p:nvSpPr>
        <p:spPr>
          <a:xfrm>
            <a:off x="5919979" y="3334194"/>
            <a:ext cx="2983633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Example Cluster 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6EBEB5-80E8-48E8-BA49-93A5089D42FF}"/>
              </a:ext>
            </a:extLst>
          </p:cNvPr>
          <p:cNvSpPr txBox="1"/>
          <p:nvPr/>
        </p:nvSpPr>
        <p:spPr>
          <a:xfrm>
            <a:off x="9042355" y="3334194"/>
            <a:ext cx="2983633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Example Cluster 2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C4FC181-5057-4DF5-B16E-662EDF9A429B}"/>
              </a:ext>
            </a:extLst>
          </p:cNvPr>
          <p:cNvSpPr txBox="1">
            <a:spLocks/>
          </p:cNvSpPr>
          <p:nvPr/>
        </p:nvSpPr>
        <p:spPr bwMode="gray">
          <a:xfrm>
            <a:off x="587388" y="3407279"/>
            <a:ext cx="6228692" cy="1821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Grain segments clustered separately due to: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2"/>
                </a:solidFill>
              </a:rPr>
              <a:t>Texture variations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2"/>
                </a:solidFill>
              </a:rPr>
              <a:t>Natural colour variation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2"/>
                </a:solidFill>
              </a:rPr>
              <a:t>Differences between images</a:t>
            </a: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CCE4DCB6-35D7-4FAF-8B8D-9827D63A3D5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3251481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8" grpId="0"/>
      <p:bldP spid="29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4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Edge Confid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52EF8C-43CD-4F4A-B192-99FC76DDAF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2369" y="368660"/>
            <a:ext cx="2742662" cy="573687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63F10CF-D411-4572-8CD6-2BDE4B185B24}"/>
              </a:ext>
            </a:extLst>
          </p:cNvPr>
          <p:cNvSpPr/>
          <p:nvPr/>
        </p:nvSpPr>
        <p:spPr>
          <a:xfrm>
            <a:off x="9156340" y="3573016"/>
            <a:ext cx="936104" cy="1476164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F57F6B0F-5DE1-4D7E-B03E-23545CE98CBD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6228692" cy="1368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800" dirty="0"/>
              <a:t>Attempt to identify which edges are due to over-segmenting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Independent from clustering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Theoretically better for isolating grain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64DE0A-A5F9-4E56-A073-C6EFA5238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399" y="3897052"/>
            <a:ext cx="5536491" cy="756084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20DBAA90-7E27-47D2-B0D2-85FB7A297107}"/>
              </a:ext>
            </a:extLst>
          </p:cNvPr>
          <p:cNvSpPr txBox="1">
            <a:spLocks/>
          </p:cNvSpPr>
          <p:nvPr/>
        </p:nvSpPr>
        <p:spPr bwMode="gray">
          <a:xfrm>
            <a:off x="587388" y="3429000"/>
            <a:ext cx="6228692" cy="18171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800" dirty="0"/>
              <a:t>User defined edge confidence:</a:t>
            </a:r>
          </a:p>
          <a:p>
            <a:pPr lvl="1">
              <a:lnSpc>
                <a:spcPct val="150000"/>
              </a:lnSpc>
            </a:pPr>
            <a:endParaRPr lang="en-US" sz="1800" dirty="0"/>
          </a:p>
          <a:p>
            <a:pPr marL="252000" lvl="1" indent="0">
              <a:lnSpc>
                <a:spcPct val="150000"/>
              </a:lnSpc>
              <a:buNone/>
            </a:pPr>
            <a:endParaRPr lang="en-US" sz="1800" dirty="0"/>
          </a:p>
        </p:txBody>
      </p:sp>
      <p:sp>
        <p:nvSpPr>
          <p:cNvPr id="13" name="Rectangle 12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5B1604E8-88B8-4D83-80D2-E0DC894C59D1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0976588D-9543-43DA-A028-000FC5BC74B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2859874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5</a:t>
            </a:fld>
            <a:endParaRPr lang="en-GB" sz="8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980CCD-8DAB-408F-9477-77692238DBFF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Edge Confide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3ED587-6510-474E-A401-7BE5978BE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9404" y="1459352"/>
            <a:ext cx="4303140" cy="43031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E93372-0269-4923-821A-B492C1ABBA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335" y="1592796"/>
            <a:ext cx="4548670" cy="41990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EB0193B-CCD9-4159-BE23-582E207394EC}"/>
              </a:ext>
            </a:extLst>
          </p:cNvPr>
          <p:cNvSpPr txBox="1"/>
          <p:nvPr/>
        </p:nvSpPr>
        <p:spPr>
          <a:xfrm rot="5400000">
            <a:off x="4621958" y="3457273"/>
            <a:ext cx="2232248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Edge Confid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F78F2F-9837-4C45-B327-C95687A5A12B}"/>
              </a:ext>
            </a:extLst>
          </p:cNvPr>
          <p:cNvSpPr txBox="1"/>
          <p:nvPr/>
        </p:nvSpPr>
        <p:spPr>
          <a:xfrm>
            <a:off x="1199455" y="5757164"/>
            <a:ext cx="4375845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Scharr edge filter alignment edge confid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F0434E-F0E0-44D5-BCDE-8EA1F8437943}"/>
              </a:ext>
            </a:extLst>
          </p:cNvPr>
          <p:cNvSpPr txBox="1"/>
          <p:nvPr/>
        </p:nvSpPr>
        <p:spPr>
          <a:xfrm>
            <a:off x="6888088" y="5757164"/>
            <a:ext cx="3906908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Segmentation from edge based merging</a:t>
            </a:r>
          </a:p>
        </p:txBody>
      </p:sp>
      <p:sp>
        <p:nvSpPr>
          <p:cNvPr id="10" name="Rectangle 9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170F6370-0AC2-4C16-8AFD-3C44A0F5CDE6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9153806F-1B8B-4D10-B641-7A8512E2A72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2545148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6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dditional: All Clust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7B7C58-259B-473E-9077-F0F5A83839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0380"/>
          <a:stretch/>
        </p:blipFill>
        <p:spPr>
          <a:xfrm>
            <a:off x="695400" y="1556791"/>
            <a:ext cx="4236094" cy="41404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B4A2A1-83A6-4455-AE8D-EEFB37A703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9993" b="19726"/>
          <a:stretch/>
        </p:blipFill>
        <p:spPr>
          <a:xfrm>
            <a:off x="5142461" y="1522282"/>
            <a:ext cx="4236094" cy="42094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B0668C-D4B2-44BA-834A-BC830BF176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80236" r="52403" b="89"/>
          <a:stretch/>
        </p:blipFill>
        <p:spPr>
          <a:xfrm>
            <a:off x="9660396" y="2598982"/>
            <a:ext cx="2016224" cy="20560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6D1CDEC-725F-4E5E-A2F6-0BEF7BA04A2B}"/>
              </a:ext>
            </a:extLst>
          </p:cNvPr>
          <p:cNvSpPr txBox="1"/>
          <p:nvPr/>
        </p:nvSpPr>
        <p:spPr>
          <a:xfrm>
            <a:off x="695400" y="5800712"/>
            <a:ext cx="10800000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/>
              <a:t>All clusters from Thailand image, user input labels them into the clay, rock, pore segmentation shown previously</a:t>
            </a:r>
          </a:p>
        </p:txBody>
      </p:sp>
      <p:sp>
        <p:nvSpPr>
          <p:cNvPr id="14" name="Rectangle 13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04ED2AE9-42CD-4140-A223-52F0E0919F24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6E95A98-5B62-4881-BCD7-11C6301433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12613010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7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Resul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D6CFD8-9EF9-4963-AD1A-C2CBEEA222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1046" y="1650834"/>
            <a:ext cx="2989697" cy="3006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197026-48BA-4515-9BBA-D801AC7F5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3852" y="1656275"/>
            <a:ext cx="3006235" cy="29951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156542-9777-4983-B972-807D149A80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3196" y="1656275"/>
            <a:ext cx="2989697" cy="29951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2A876A5-6A61-4900-B99A-ADA9AFF57FF3}"/>
              </a:ext>
            </a:extLst>
          </p:cNvPr>
          <p:cNvSpPr txBox="1"/>
          <p:nvPr/>
        </p:nvSpPr>
        <p:spPr>
          <a:xfrm>
            <a:off x="2219962" y="1358314"/>
            <a:ext cx="1476164" cy="289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dirty="0">
                <a:solidFill>
                  <a:schemeClr val="tx2"/>
                </a:solidFill>
              </a:rPr>
              <a:t>Clay Reg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6A2B8F-6CEC-4F87-BB3E-2B85E8D89112}"/>
              </a:ext>
            </a:extLst>
          </p:cNvPr>
          <p:cNvSpPr txBox="1"/>
          <p:nvPr/>
        </p:nvSpPr>
        <p:spPr>
          <a:xfrm>
            <a:off x="5528887" y="1345781"/>
            <a:ext cx="1476164" cy="289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dirty="0">
                <a:solidFill>
                  <a:schemeClr val="tx2"/>
                </a:solidFill>
              </a:rPr>
              <a:t>Rock Reg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A6ECDC-7A64-4E40-B504-1F41C1F21DDF}"/>
              </a:ext>
            </a:extLst>
          </p:cNvPr>
          <p:cNvSpPr txBox="1"/>
          <p:nvPr/>
        </p:nvSpPr>
        <p:spPr>
          <a:xfrm>
            <a:off x="8843517" y="1340768"/>
            <a:ext cx="1476164" cy="289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dirty="0">
                <a:solidFill>
                  <a:schemeClr val="tx2"/>
                </a:solidFill>
              </a:rPr>
              <a:t>Pore Region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5AD413-3FD4-4219-B8FF-5C48511FCAFC}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2660134" y="2289770"/>
            <a:ext cx="375526" cy="25922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2D939B5-0FD2-4480-B061-E4E9322EDA05}"/>
              </a:ext>
            </a:extLst>
          </p:cNvPr>
          <p:cNvCxnSpPr>
            <a:cxnSpLocks/>
            <a:stCxn id="24" idx="0"/>
          </p:cNvCxnSpPr>
          <p:nvPr/>
        </p:nvCxnSpPr>
        <p:spPr>
          <a:xfrm flipH="1" flipV="1">
            <a:off x="5134453" y="3825044"/>
            <a:ext cx="961547" cy="101283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6B43725-4C50-464D-A38A-1E29122BC05F}"/>
              </a:ext>
            </a:extLst>
          </p:cNvPr>
          <p:cNvSpPr txBox="1"/>
          <p:nvPr/>
        </p:nvSpPr>
        <p:spPr>
          <a:xfrm>
            <a:off x="1922052" y="4882058"/>
            <a:ext cx="1476164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Mis-identified po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1D40D2-9FB1-4175-9015-290EC8220041}"/>
              </a:ext>
            </a:extLst>
          </p:cNvPr>
          <p:cNvSpPr txBox="1"/>
          <p:nvPr/>
        </p:nvSpPr>
        <p:spPr>
          <a:xfrm>
            <a:off x="4872543" y="4837876"/>
            <a:ext cx="2446914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tx2"/>
                </a:solidFill>
              </a:rPr>
              <a:t>Pore too small to be segmented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AC6CF6C-D826-4F0D-A7B2-2274A719F098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6096000" y="4494464"/>
            <a:ext cx="455686" cy="34341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8383CFC-A167-4904-B7EF-823F0A4C062B}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2660134" y="4581128"/>
            <a:ext cx="574358" cy="30093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E839536-FB81-4495-8D65-6909D388CB6C}"/>
              </a:ext>
            </a:extLst>
          </p:cNvPr>
          <p:cNvSpPr txBox="1"/>
          <p:nvPr/>
        </p:nvSpPr>
        <p:spPr>
          <a:xfrm>
            <a:off x="1463195" y="5425541"/>
            <a:ext cx="9607547" cy="671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dirty="0">
                <a:solidFill>
                  <a:schemeClr val="tx2"/>
                </a:solidFill>
              </a:rPr>
              <a:t>Reasonable segmentations 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dirty="0">
                <a:solidFill>
                  <a:schemeClr val="tx2"/>
                </a:solidFill>
              </a:rPr>
              <a:t>However porosity results prove further work need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65BBBD7-CE9F-4F49-956F-BE2D99B69BC6}"/>
              </a:ext>
            </a:extLst>
          </p:cNvPr>
          <p:cNvSpPr txBox="1"/>
          <p:nvPr/>
        </p:nvSpPr>
        <p:spPr>
          <a:xfrm>
            <a:off x="8623828" y="4706677"/>
            <a:ext cx="2446914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100" dirty="0"/>
              <a:t>Thailand sandstone</a:t>
            </a:r>
            <a:endParaRPr lang="en-US" sz="1050" dirty="0"/>
          </a:p>
        </p:txBody>
      </p:sp>
      <p:sp>
        <p:nvSpPr>
          <p:cNvPr id="20" name="Rectangle 19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C4AD452A-B0D2-4E81-9489-F0578425CAC3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7590D883-2CD7-4C19-9643-CA36AE68B2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3147766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23" grpId="0"/>
      <p:bldP spid="24" grpId="0"/>
      <p:bldP spid="40" grpId="0"/>
      <p:bldP spid="4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C000FB-0768-4D97-A47C-2F742F948D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8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dditional: Porosity Results</a:t>
            </a:r>
          </a:p>
        </p:txBody>
      </p:sp>
      <p:sp>
        <p:nvSpPr>
          <p:cNvPr id="20" name="Rectangle 19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C4AD452A-B0D2-4E81-9489-F0578425CAC3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FBD1286C-EDFA-4B6E-9EC0-DBB67BBFD9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2392" y="2708920"/>
            <a:ext cx="9847215" cy="2592288"/>
          </a:xfrm>
          <a:prstGeom prst="rect">
            <a:avLst/>
          </a:prstGeom>
        </p:spPr>
      </p:pic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5F3395BF-79EA-4F4A-ABCD-E66C721CD23E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6228692" cy="8847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800" dirty="0"/>
              <a:t>Six regions sampled three time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Only sandstone considered (subset of expected images)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A18BF377-290B-44F2-B21D-13B871F4847A}"/>
              </a:ext>
            </a:extLst>
          </p:cNvPr>
          <p:cNvSpPr txBox="1">
            <a:spLocks/>
          </p:cNvSpPr>
          <p:nvPr/>
        </p:nvSpPr>
        <p:spPr bwMode="gray">
          <a:xfrm>
            <a:off x="598341" y="5392544"/>
            <a:ext cx="10421266" cy="8847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800" dirty="0"/>
              <a:t>Possible issues: under sampling of whole image, mentioned clustering issues, need for correction factors, clustering method insufficient to capture material trends</a:t>
            </a:r>
          </a:p>
        </p:txBody>
      </p:sp>
    </p:spTree>
    <p:extLst>
      <p:ext uri="{BB962C8B-B14F-4D97-AF65-F5344CB8AC3E}">
        <p14:creationId xmlns:p14="http://schemas.microsoft.com/office/powerpoint/2010/main" val="29574390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19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Sustainabilit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D1590B-332D-46AE-A818-DB24B0DDE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052736"/>
            <a:ext cx="3847063" cy="3140916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DCA083C-E1B8-40F4-BA49-0683CB19DA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5082" y="2564904"/>
            <a:ext cx="3107542" cy="3140916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AD88DEE2-79D2-4567-A1CC-51023AC43CB7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5868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en-GB" sz="1800" dirty="0"/>
              <a:t>Reusable modular structure</a:t>
            </a:r>
          </a:p>
          <a:p>
            <a:pPr lvl="1">
              <a:lnSpc>
                <a:spcPct val="200000"/>
              </a:lnSpc>
            </a:pPr>
            <a:r>
              <a:rPr lang="en-GB" sz="1800" dirty="0"/>
              <a:t>Good documentation (numpy convention &amp; sphinx)</a:t>
            </a:r>
          </a:p>
          <a:p>
            <a:pPr lvl="1">
              <a:lnSpc>
                <a:spcPct val="200000"/>
              </a:lnSpc>
            </a:pPr>
            <a:r>
              <a:rPr lang="en-GB" sz="1800" dirty="0"/>
              <a:t>Unit &amp; Acceptance testing (Pytest)</a:t>
            </a:r>
          </a:p>
          <a:p>
            <a:pPr lvl="1">
              <a:lnSpc>
                <a:spcPct val="200000"/>
              </a:lnSpc>
            </a:pPr>
            <a:r>
              <a:rPr lang="en-GB" sz="1800" dirty="0"/>
              <a:t>Package formalisation (pip)</a:t>
            </a:r>
          </a:p>
          <a:p>
            <a:pPr lvl="1">
              <a:lnSpc>
                <a:spcPct val="200000"/>
              </a:lnSpc>
            </a:pPr>
            <a:r>
              <a:rPr lang="en-GB" sz="1800" dirty="0"/>
              <a:t>Linted Code (Pylint)</a:t>
            </a:r>
          </a:p>
          <a:p>
            <a:pPr lvl="1">
              <a:lnSpc>
                <a:spcPct val="200000"/>
              </a:lnSpc>
            </a:pPr>
            <a:r>
              <a:rPr lang="en-GB" sz="1800" dirty="0"/>
              <a:t>Frequently commented cod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70C6EA2-847D-459A-AD5F-37EDCB9EF7BE}"/>
              </a:ext>
            </a:extLst>
          </p:cNvPr>
          <p:cNvSpPr txBox="1">
            <a:spLocks/>
          </p:cNvSpPr>
          <p:nvPr/>
        </p:nvSpPr>
        <p:spPr bwMode="gray">
          <a:xfrm>
            <a:off x="6060648" y="5661248"/>
            <a:ext cx="5868000" cy="468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lvl="1" indent="0">
              <a:lnSpc>
                <a:spcPct val="100000"/>
              </a:lnSpc>
              <a:buNone/>
            </a:pPr>
            <a:r>
              <a:rPr lang="en-GB" dirty="0"/>
              <a:t>Hosted on GitHub Pages</a:t>
            </a:r>
          </a:p>
          <a:p>
            <a:pPr marL="252000" lvl="1" indent="0">
              <a:lnSpc>
                <a:spcPct val="100000"/>
              </a:lnSpc>
              <a:buNone/>
            </a:pPr>
            <a:r>
              <a:rPr lang="en-US" dirty="0">
                <a:hlinkClick r:id="rId4"/>
              </a:rPr>
              <a:t>https://msc-acse.github.io/acse-9-independent-research-project-Boyne272/index.html</a:t>
            </a:r>
            <a:endParaRPr lang="en-GB" dirty="0"/>
          </a:p>
        </p:txBody>
      </p:sp>
      <p:sp>
        <p:nvSpPr>
          <p:cNvPr id="9" name="Rectangle 8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AAD68A53-8CC6-4A46-B8DB-FA245CEB0609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349D8851-3E7D-45D5-ACF5-2B3C14D7501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6800"/>
            <a:ext cx="10801200" cy="123526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90451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00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>
          <a:xfrm>
            <a:off x="25327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2</a:t>
            </a:fld>
            <a:endParaRPr lang="en-GB" sz="800" noProof="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8CE9C53-CB1B-4B6E-9B8D-8EFC82FFE1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800" cap="none" noProof="0" dirty="0"/>
              <a:t>Automated Thin Section Analysis, </a:t>
            </a:r>
            <a:r>
              <a:rPr lang="en-US" sz="800" cap="none" dirty="0"/>
              <a:t>Richard Boyne</a:t>
            </a:r>
            <a:r>
              <a:rPr lang="en-US" sz="800" cap="none" noProof="0" dirty="0"/>
              <a:t>, 10</a:t>
            </a:r>
            <a:r>
              <a:rPr lang="en-US" sz="800" cap="none" baseline="30000" noProof="0" dirty="0"/>
              <a:t>th</a:t>
            </a:r>
            <a:r>
              <a:rPr lang="en-US" sz="800" cap="none" noProof="0" dirty="0"/>
              <a:t> Sept 2019</a:t>
            </a:r>
            <a:endParaRPr lang="en-GB" sz="800" cap="none" noProof="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924E13-75C3-492C-BFA6-019409C4249C}"/>
              </a:ext>
            </a:extLst>
          </p:cNvPr>
          <p:cNvSpPr txBox="1"/>
          <p:nvPr/>
        </p:nvSpPr>
        <p:spPr>
          <a:xfrm>
            <a:off x="694800" y="1249459"/>
            <a:ext cx="5400600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accent1"/>
                </a:solidFill>
                <a:latin typeface="+mj-lt"/>
              </a:rPr>
              <a:t>Automated Thin Section Analysis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488A56E8-EC11-4218-B48C-EB62FC00F610}"/>
              </a:ext>
            </a:extLst>
          </p:cNvPr>
          <p:cNvSpPr txBox="1">
            <a:spLocks/>
          </p:cNvSpPr>
          <p:nvPr/>
        </p:nvSpPr>
        <p:spPr bwMode="gray">
          <a:xfrm>
            <a:off x="685306" y="2011106"/>
            <a:ext cx="5022220" cy="3907188"/>
          </a:xfrm>
          <a:prstGeom prst="rect">
            <a:avLst/>
          </a:prstGeom>
          <a:solidFill>
            <a:schemeClr val="bg1"/>
          </a:solidFill>
        </p:spPr>
        <p:txBody>
          <a:bodyPr vert="horz" lIns="108000" tIns="108000" rIns="108000" bIns="108000" rtlCol="0" anchor="t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buSzPct val="110000"/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Thin Section Images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Project Aims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TSA Software</a:t>
            </a:r>
          </a:p>
          <a:p>
            <a:pPr marL="630900" lvl="1" indent="-342900">
              <a:lnSpc>
                <a:spcPct val="100000"/>
              </a:lnSpc>
              <a:tabLst>
                <a:tab pos="628650" algn="l"/>
              </a:tabLst>
            </a:pPr>
            <a:r>
              <a:rPr lang="en-GB" sz="1600" dirty="0">
                <a:sym typeface="WintershallDea" panose="020B0503040000020003" pitchFamily="34" charset="0"/>
              </a:rPr>
              <a:t>Overview</a:t>
            </a:r>
          </a:p>
          <a:p>
            <a:pPr marL="630900" lvl="1" indent="-342900">
              <a:lnSpc>
                <a:spcPct val="100000"/>
              </a:lnSpc>
              <a:tabLst>
                <a:tab pos="628650" algn="l"/>
              </a:tabLst>
            </a:pPr>
            <a:r>
              <a:rPr lang="en-GB" sz="1600" dirty="0">
                <a:sym typeface="WintershallDea" panose="020B0503040000020003" pitchFamily="34" charset="0"/>
              </a:rPr>
              <a:t>Algorithms</a:t>
            </a:r>
          </a:p>
          <a:p>
            <a:pPr marL="630900" lvl="1" indent="-342900">
              <a:lnSpc>
                <a:spcPct val="100000"/>
              </a:lnSpc>
              <a:tabLst>
                <a:tab pos="628650" algn="l"/>
              </a:tabLst>
            </a:pPr>
            <a:r>
              <a:rPr lang="en-GB" sz="1600" dirty="0">
                <a:sym typeface="WintershallDea" panose="020B0503040000020003" pitchFamily="34" charset="0"/>
              </a:rPr>
              <a:t>Implementation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Results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Conclusions</a:t>
            </a:r>
          </a:p>
          <a:p>
            <a:pPr marL="342900" indent="-342900" algn="l">
              <a:lnSpc>
                <a:spcPct val="150000"/>
              </a:lnSpc>
              <a:buFont typeface="+mj-lt"/>
              <a:buAutoNum type="arabicPeriod"/>
              <a:tabLst>
                <a:tab pos="628650" algn="l"/>
              </a:tabLst>
            </a:pPr>
            <a:r>
              <a:rPr lang="en-GB" sz="1800" dirty="0">
                <a:solidFill>
                  <a:schemeClr val="tx2"/>
                </a:solidFill>
                <a:sym typeface="WintershallDea" panose="020B0503040000020003" pitchFamily="34" charset="0"/>
              </a:rPr>
              <a:t>Quest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925C20-E763-4ECE-B942-DCABB42E01E0}"/>
              </a:ext>
            </a:extLst>
          </p:cNvPr>
          <p:cNvSpPr txBox="1"/>
          <p:nvPr/>
        </p:nvSpPr>
        <p:spPr>
          <a:xfrm>
            <a:off x="697916" y="1487955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C3CE39-2A86-4C16-A1BF-6AF65DC208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39816" y="439689"/>
            <a:ext cx="5287516" cy="35250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272753D-279A-46D0-9528-EBE142F6FDF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43009"/>
          <a:stretch/>
        </p:blipFill>
        <p:spPr>
          <a:xfrm>
            <a:off x="8268135" y="2708920"/>
            <a:ext cx="3372062" cy="29584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897C3B-973D-42F2-8432-58D9E75EB7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1984" y="4345644"/>
            <a:ext cx="2857500" cy="21431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Rectangle 6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9E8DD4E7-4AAA-4B57-B8BB-8829EFC9F53D}"/>
              </a:ext>
            </a:extLst>
          </p:cNvPr>
          <p:cNvSpPr/>
          <p:nvPr/>
        </p:nvSpPr>
        <p:spPr>
          <a:xfrm>
            <a:off x="1703512" y="6427214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095664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20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latin typeface="+mj-lt"/>
              </a:rPr>
              <a:t>Conclusions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2598D573-33A3-4888-9C46-706346BDF740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5370850" cy="4321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lvl="1" indent="0">
              <a:lnSpc>
                <a:spcPct val="150000"/>
              </a:lnSpc>
              <a:buNone/>
            </a:pPr>
            <a:r>
              <a:rPr lang="en-GB" sz="1800" u="sng" dirty="0"/>
              <a:t>TSA Developed</a:t>
            </a:r>
          </a:p>
          <a:p>
            <a:pPr lvl="1"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</a:rPr>
              <a:t>Sustainable </a:t>
            </a:r>
            <a:r>
              <a:rPr lang="en-GB" sz="1800" dirty="0">
                <a:solidFill>
                  <a:schemeClr val="tx1"/>
                </a:solidFill>
              </a:rPr>
              <a:t>for future development</a:t>
            </a:r>
            <a:endParaRPr lang="en-GB" sz="1800" b="1" dirty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</a:rPr>
              <a:t>Adaptable</a:t>
            </a:r>
          </a:p>
          <a:p>
            <a:pPr marL="714375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</a:rPr>
              <a:t>SLIC distance metric</a:t>
            </a:r>
          </a:p>
          <a:p>
            <a:pPr marL="714375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</a:rPr>
              <a:t>MSLIC combination metric</a:t>
            </a:r>
          </a:p>
          <a:p>
            <a:pPr marL="714375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</a:rPr>
              <a:t>Clustering features and algorithm</a:t>
            </a:r>
          </a:p>
          <a:p>
            <a:pPr marL="714375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</a:rPr>
              <a:t>Edge detection metrics</a:t>
            </a:r>
            <a:endParaRPr lang="en-GB" sz="1800" b="1" dirty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GB" sz="1600" b="1" dirty="0">
                <a:solidFill>
                  <a:schemeClr val="tx1"/>
                </a:solidFill>
                <a:latin typeface="+mn-lt"/>
              </a:rPr>
              <a:t>Usable </a:t>
            </a:r>
            <a:r>
              <a:rPr lang="en-GB" sz="1600" dirty="0">
                <a:solidFill>
                  <a:schemeClr val="tx1"/>
                </a:solidFill>
                <a:latin typeface="+mn-lt"/>
              </a:rPr>
              <a:t>for TS analysis pipeline development</a:t>
            </a:r>
          </a:p>
          <a:p>
            <a:pPr lvl="1">
              <a:lnSpc>
                <a:spcPct val="150000"/>
              </a:lnSpc>
            </a:pPr>
            <a:r>
              <a:rPr lang="en-GB" sz="1600" b="1" dirty="0">
                <a:solidFill>
                  <a:schemeClr val="tx1"/>
                </a:solidFill>
                <a:latin typeface="+mn-lt"/>
              </a:rPr>
              <a:t>Valid </a:t>
            </a:r>
            <a:r>
              <a:rPr lang="en-GB" sz="1600" dirty="0">
                <a:solidFill>
                  <a:schemeClr val="tx1"/>
                </a:solidFill>
                <a:latin typeface="+mn-lt"/>
              </a:rPr>
              <a:t>with initial segmentations looking reasonab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F36164A-77AD-4C19-B680-448E3C27B71F}"/>
              </a:ext>
            </a:extLst>
          </p:cNvPr>
          <p:cNvSpPr txBox="1">
            <a:spLocks/>
          </p:cNvSpPr>
          <p:nvPr/>
        </p:nvSpPr>
        <p:spPr bwMode="gray">
          <a:xfrm>
            <a:off x="6095400" y="1700212"/>
            <a:ext cx="5370850" cy="3889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lvl="1" indent="0">
              <a:lnSpc>
                <a:spcPct val="150000"/>
              </a:lnSpc>
              <a:buNone/>
            </a:pPr>
            <a:r>
              <a:rPr lang="en-GB" sz="1800" u="sng" dirty="0">
                <a:solidFill>
                  <a:schemeClr val="tx1"/>
                </a:solidFill>
              </a:rPr>
              <a:t>Further Work Needed</a:t>
            </a:r>
          </a:p>
          <a:p>
            <a:pPr lvl="1"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</a:rPr>
              <a:t>Clustering</a:t>
            </a:r>
            <a:r>
              <a:rPr lang="en-GB" sz="1800" dirty="0">
                <a:solidFill>
                  <a:schemeClr val="tx1"/>
                </a:solidFill>
              </a:rPr>
              <a:t> difficulties</a:t>
            </a:r>
          </a:p>
          <a:p>
            <a:pPr lvl="1">
              <a:lnSpc>
                <a:spcPct val="150000"/>
              </a:lnSpc>
            </a:pPr>
            <a:r>
              <a:rPr lang="en-GB" sz="1800" b="1" dirty="0">
                <a:solidFill>
                  <a:schemeClr val="tx1"/>
                </a:solidFill>
              </a:rPr>
              <a:t>Edge detection </a:t>
            </a:r>
            <a:r>
              <a:rPr lang="en-GB" sz="1800" dirty="0">
                <a:solidFill>
                  <a:schemeClr val="tx1"/>
                </a:solidFill>
              </a:rPr>
              <a:t>difficulties</a:t>
            </a:r>
          </a:p>
          <a:p>
            <a:pPr lvl="1">
              <a:lnSpc>
                <a:spcPct val="150000"/>
              </a:lnSpc>
            </a:pPr>
            <a:r>
              <a:rPr lang="en-GB" sz="1800" dirty="0">
                <a:solidFill>
                  <a:schemeClr val="tx1"/>
                </a:solidFill>
              </a:rPr>
              <a:t>Initial </a:t>
            </a:r>
            <a:r>
              <a:rPr lang="en-GB" sz="1800" b="1" dirty="0">
                <a:solidFill>
                  <a:schemeClr val="tx1"/>
                </a:solidFill>
              </a:rPr>
              <a:t>porosity</a:t>
            </a:r>
            <a:r>
              <a:rPr lang="en-GB" sz="1800" dirty="0">
                <a:solidFill>
                  <a:schemeClr val="tx1"/>
                </a:solidFill>
              </a:rPr>
              <a:t> results poor</a:t>
            </a:r>
          </a:p>
          <a:p>
            <a:pPr lvl="1">
              <a:lnSpc>
                <a:spcPct val="150000"/>
              </a:lnSpc>
            </a:pPr>
            <a:r>
              <a:rPr lang="en-GB" sz="1800" dirty="0">
                <a:solidFill>
                  <a:schemeClr val="tx1"/>
                </a:solidFill>
              </a:rPr>
              <a:t>Unsupervised clustering may be </a:t>
            </a:r>
            <a:r>
              <a:rPr lang="en-GB" sz="1800" b="1" dirty="0">
                <a:solidFill>
                  <a:schemeClr val="tx1"/>
                </a:solidFill>
              </a:rPr>
              <a:t>unable to achieve desired</a:t>
            </a:r>
            <a:r>
              <a:rPr lang="en-GB" sz="1800" dirty="0">
                <a:solidFill>
                  <a:schemeClr val="tx1"/>
                </a:solidFill>
              </a:rPr>
              <a:t> </a:t>
            </a:r>
            <a:r>
              <a:rPr lang="en-GB" sz="1800">
                <a:solidFill>
                  <a:schemeClr val="tx1"/>
                </a:solidFill>
              </a:rPr>
              <a:t>TS automation</a:t>
            </a:r>
          </a:p>
          <a:p>
            <a:pPr marL="252000" lvl="1" indent="0">
              <a:lnSpc>
                <a:spcPct val="150000"/>
              </a:lnSpc>
              <a:buNone/>
            </a:pPr>
            <a:endParaRPr lang="en-GB" sz="180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GB" sz="1800" dirty="0">
                <a:solidFill>
                  <a:schemeClr val="tx1"/>
                </a:solidFill>
              </a:rPr>
              <a:t>Potential for </a:t>
            </a:r>
            <a:r>
              <a:rPr lang="en-GB" sz="1800" b="1" dirty="0">
                <a:solidFill>
                  <a:schemeClr val="tx1"/>
                </a:solidFill>
              </a:rPr>
              <a:t>user based corrections </a:t>
            </a:r>
            <a:r>
              <a:rPr lang="en-GB" sz="1800" dirty="0">
                <a:solidFill>
                  <a:schemeClr val="tx1"/>
                </a:solidFill>
              </a:rPr>
              <a:t>and label storing</a:t>
            </a:r>
          </a:p>
          <a:p>
            <a:pPr lvl="1">
              <a:lnSpc>
                <a:spcPct val="150000"/>
              </a:lnSpc>
            </a:pPr>
            <a:r>
              <a:rPr lang="en-GB" sz="1800" dirty="0">
                <a:solidFill>
                  <a:schemeClr val="tx1"/>
                </a:solidFill>
              </a:rPr>
              <a:t>Unconsidered features (e.g. image size)</a:t>
            </a:r>
          </a:p>
          <a:p>
            <a:pPr marL="252000" lvl="1" indent="0">
              <a:lnSpc>
                <a:spcPct val="150000"/>
              </a:lnSpc>
              <a:buNone/>
            </a:pPr>
            <a:endParaRPr lang="en-GB" sz="1800" u="sng" dirty="0">
              <a:solidFill>
                <a:schemeClr val="tx1"/>
              </a:solidFill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F02AA25-D854-4E4F-B30B-B52F74940A0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  <p:sp>
        <p:nvSpPr>
          <p:cNvPr id="8" name="Rectangle 7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DF529F04-9BE8-4DEA-9648-6812B6774B33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4219278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24300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80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99176" y="2060848"/>
            <a:ext cx="3193648" cy="501419"/>
          </a:xfrm>
        </p:spPr>
        <p:txBody>
          <a:bodyPr/>
          <a:lstStyle/>
          <a:p>
            <a:r>
              <a:rPr lang="en-GB" cap="none" dirty="0"/>
              <a:t>Thank you</a:t>
            </a:r>
            <a:endParaRPr lang="en-GB" cap="none" dirty="0">
              <a:solidFill>
                <a:schemeClr val="accent3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DADB8A4A-ED00-48F9-81DF-303E6C8F36B7}"/>
              </a:ext>
            </a:extLst>
          </p:cNvPr>
          <p:cNvSpPr txBox="1">
            <a:spLocks/>
          </p:cNvSpPr>
          <p:nvPr/>
        </p:nvSpPr>
        <p:spPr bwMode="gray">
          <a:xfrm>
            <a:off x="4584132" y="3323625"/>
            <a:ext cx="3023736" cy="5014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8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cap="none" dirty="0"/>
              <a:t>Questions</a:t>
            </a:r>
            <a:endParaRPr lang="en-GB" cap="none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774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80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298D77-C797-4F56-BEB0-19C72C21E117}"/>
              </a:ext>
            </a:extLst>
          </p:cNvPr>
          <p:cNvSpPr txBox="1"/>
          <p:nvPr/>
        </p:nvSpPr>
        <p:spPr>
          <a:xfrm>
            <a:off x="3392080" y="1712826"/>
            <a:ext cx="1152128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>
                <a:solidFill>
                  <a:schemeClr val="bg1"/>
                </a:solidFill>
              </a:rPr>
              <a:t>Intro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ADCAD7E-2865-4BEE-AB03-89CC62410E08}"/>
              </a:ext>
            </a:extLst>
          </p:cNvPr>
          <p:cNvGrpSpPr/>
          <p:nvPr/>
        </p:nvGrpSpPr>
        <p:grpSpPr>
          <a:xfrm>
            <a:off x="5136999" y="1709271"/>
            <a:ext cx="1918002" cy="1284711"/>
            <a:chOff x="5136999" y="1717734"/>
            <a:chExt cx="1918002" cy="1284711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5" name="Slide Zoom 24">
                  <a:extLst>
                    <a:ext uri="{FF2B5EF4-FFF2-40B4-BE49-F238E27FC236}">
                      <a16:creationId xmlns:a16="http://schemas.microsoft.com/office/drawing/2014/main" id="{1CAC942B-EBE0-404F-91BE-AA230CF56CF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68360040"/>
                    </p:ext>
                  </p:extLst>
                </p:nvPr>
              </p:nvGraphicFramePr>
              <p:xfrm>
                <a:off x="5136999" y="1923569"/>
                <a:ext cx="1918002" cy="1078876"/>
              </p:xfrm>
              <a:graphic>
                <a:graphicData uri="http://schemas.microsoft.com/office/powerpoint/2016/slidezoom">
                  <pslz:sldZm>
                    <pslz:sldZmObj sldId="287" cId="3716535477">
                      <pslz:zmPr id="{399F4221-7EC8-4B63-A710-FAC7C9306219}" returnToParent="0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5" name="Slide Zoom 24">
                  <a:hlinkClick r:id="rId12" action="ppaction://hlinksldjump"/>
                  <a:extLst>
                    <a:ext uri="{FF2B5EF4-FFF2-40B4-BE49-F238E27FC236}">
                      <a16:creationId xmlns:a16="http://schemas.microsoft.com/office/drawing/2014/main" id="{1CAC942B-EBE0-404F-91BE-AA230CF56CF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136999" y="1915106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7B38945-CDC4-45DF-BE0D-1B6890CAD141}"/>
                </a:ext>
              </a:extLst>
            </p:cNvPr>
            <p:cNvSpPr txBox="1"/>
            <p:nvPr/>
          </p:nvSpPr>
          <p:spPr>
            <a:xfrm>
              <a:off x="5514598" y="1717734"/>
              <a:ext cx="1152128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Project Aim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B611365-1E0D-4BAA-B272-8F8B3AF61671}"/>
              </a:ext>
            </a:extLst>
          </p:cNvPr>
          <p:cNvGrpSpPr/>
          <p:nvPr/>
        </p:nvGrpSpPr>
        <p:grpSpPr>
          <a:xfrm>
            <a:off x="7264855" y="1700808"/>
            <a:ext cx="1918002" cy="1301637"/>
            <a:chOff x="7264855" y="1700808"/>
            <a:chExt cx="1918002" cy="1301637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7" name="Slide Zoom 26">
                  <a:extLst>
                    <a:ext uri="{FF2B5EF4-FFF2-40B4-BE49-F238E27FC236}">
                      <a16:creationId xmlns:a16="http://schemas.microsoft.com/office/drawing/2014/main" id="{3692DD88-6562-4B09-96F9-6F8C9BCED50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407199425"/>
                    </p:ext>
                  </p:extLst>
                </p:nvPr>
              </p:nvGraphicFramePr>
              <p:xfrm>
                <a:off x="7264855" y="1923569"/>
                <a:ext cx="1918002" cy="1078876"/>
              </p:xfrm>
              <a:graphic>
                <a:graphicData uri="http://schemas.microsoft.com/office/powerpoint/2016/slidezoom">
                  <pslz:sldZm>
                    <pslz:sldZmObj sldId="286" cId="1031376446">
                      <pslz:zmPr id="{34A15E8D-4CCD-45BC-A9EA-F64A8BA40047}" returnToParent="0" transitionDur="1000">
                        <p166:blipFill xmlns:p166="http://schemas.microsoft.com/office/powerpoint/2016/6/main">
                          <a:blip r:embed="rId14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7" name="Slide Zoom 26">
                  <a:hlinkClick r:id="rId15" action="ppaction://hlinksldjump"/>
                  <a:extLst>
                    <a:ext uri="{FF2B5EF4-FFF2-40B4-BE49-F238E27FC236}">
                      <a16:creationId xmlns:a16="http://schemas.microsoft.com/office/drawing/2014/main" id="{3692DD88-6562-4B09-96F9-6F8C9BCED50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7264855" y="1923569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5366BBB-0CDF-4A2B-A098-772E93C5773F}"/>
                </a:ext>
              </a:extLst>
            </p:cNvPr>
            <p:cNvSpPr txBox="1"/>
            <p:nvPr/>
          </p:nvSpPr>
          <p:spPr>
            <a:xfrm>
              <a:off x="7491299" y="1700808"/>
              <a:ext cx="1465113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Over Segmentation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4BEC2B2-2294-48ED-9A7A-8813ED2F24B1}"/>
              </a:ext>
            </a:extLst>
          </p:cNvPr>
          <p:cNvGrpSpPr/>
          <p:nvPr/>
        </p:nvGrpSpPr>
        <p:grpSpPr>
          <a:xfrm>
            <a:off x="3009143" y="3168583"/>
            <a:ext cx="1918002" cy="1304544"/>
            <a:chOff x="3009143" y="3174769"/>
            <a:chExt cx="1918002" cy="1304544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9" name="Slide Zoom 28">
                  <a:extLst>
                    <a:ext uri="{FF2B5EF4-FFF2-40B4-BE49-F238E27FC236}">
                      <a16:creationId xmlns:a16="http://schemas.microsoft.com/office/drawing/2014/main" id="{FB2E4BAB-60CC-4DD5-A90C-612FF941F69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715727310"/>
                    </p:ext>
                  </p:extLst>
                </p:nvPr>
              </p:nvGraphicFramePr>
              <p:xfrm>
                <a:off x="3009143" y="3400437"/>
                <a:ext cx="1918002" cy="1078876"/>
              </p:xfrm>
              <a:graphic>
                <a:graphicData uri="http://schemas.microsoft.com/office/powerpoint/2016/slidezoom">
                  <pslz:sldZm>
                    <pslz:sldZmObj sldId="290" cId="4031615501">
                      <pslz:zmPr id="{603D0053-0A26-4D71-8BE4-7A71B568298B}" returnToParent="0" transitionDur="1000">
                        <p166:blipFill xmlns:p166="http://schemas.microsoft.com/office/powerpoint/2016/6/main">
                          <a:blip r:embed="rId17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9" name="Slide Zoom 28">
                  <a:hlinkClick r:id="rId18" action="ppaction://hlinksldjump"/>
                  <a:extLst>
                    <a:ext uri="{FF2B5EF4-FFF2-40B4-BE49-F238E27FC236}">
                      <a16:creationId xmlns:a16="http://schemas.microsoft.com/office/drawing/2014/main" id="{FB2E4BAB-60CC-4DD5-A90C-612FF941F69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3009143" y="3394251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5F4B8C1-B1DF-4328-86E1-3EA042EA479A}"/>
                </a:ext>
              </a:extLst>
            </p:cNvPr>
            <p:cNvSpPr txBox="1"/>
            <p:nvPr/>
          </p:nvSpPr>
          <p:spPr>
            <a:xfrm>
              <a:off x="3392080" y="3174769"/>
              <a:ext cx="1152128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Clustering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0BF17E4-6400-4792-B3C2-C15508A3E1AE}"/>
              </a:ext>
            </a:extLst>
          </p:cNvPr>
          <p:cNvGrpSpPr/>
          <p:nvPr/>
        </p:nvGrpSpPr>
        <p:grpSpPr>
          <a:xfrm>
            <a:off x="5136999" y="3163019"/>
            <a:ext cx="1918002" cy="1315672"/>
            <a:chOff x="5136999" y="3162397"/>
            <a:chExt cx="1918002" cy="1315672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1" name="Slide Zoom 30">
                  <a:extLst>
                    <a:ext uri="{FF2B5EF4-FFF2-40B4-BE49-F238E27FC236}">
                      <a16:creationId xmlns:a16="http://schemas.microsoft.com/office/drawing/2014/main" id="{8F11EE05-5F3C-4031-B18A-D378B7640CD5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61337136"/>
                    </p:ext>
                  </p:extLst>
                </p:nvPr>
              </p:nvGraphicFramePr>
              <p:xfrm>
                <a:off x="5136999" y="3399193"/>
                <a:ext cx="1918002" cy="1078876"/>
              </p:xfrm>
              <a:graphic>
                <a:graphicData uri="http://schemas.microsoft.com/office/powerpoint/2016/slidezoom">
                  <pslz:sldZm>
                    <pslz:sldZmObj sldId="294" cId="2859874983">
                      <pslz:zmPr id="{8D921555-FD91-42BA-9F83-8FC0DA79021C}" returnToParent="0" transitionDur="1000">
                        <p166:blipFill xmlns:p166="http://schemas.microsoft.com/office/powerpoint/2016/6/main">
                          <a:blip r:embed="rId2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1" name="Slide Zoom 30">
                  <a:hlinkClick r:id="rId21" action="ppaction://hlinksldjump"/>
                  <a:extLst>
                    <a:ext uri="{FF2B5EF4-FFF2-40B4-BE49-F238E27FC236}">
                      <a16:creationId xmlns:a16="http://schemas.microsoft.com/office/drawing/2014/main" id="{8F11EE05-5F3C-4031-B18A-D378B7640CD5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136999" y="3399815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D0F0008-CA88-4930-89D4-51FAD28352A7}"/>
                </a:ext>
              </a:extLst>
            </p:cNvPr>
            <p:cNvSpPr txBox="1"/>
            <p:nvPr/>
          </p:nvSpPr>
          <p:spPr>
            <a:xfrm>
              <a:off x="5514598" y="3162397"/>
              <a:ext cx="1152128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Edge Detection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D2EA97E-A9DA-487D-94D1-7AE3848338B1}"/>
              </a:ext>
            </a:extLst>
          </p:cNvPr>
          <p:cNvGrpSpPr/>
          <p:nvPr/>
        </p:nvGrpSpPr>
        <p:grpSpPr>
          <a:xfrm>
            <a:off x="7264855" y="3170425"/>
            <a:ext cx="1918002" cy="1300861"/>
            <a:chOff x="7264855" y="3177208"/>
            <a:chExt cx="1918002" cy="1300861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3" name="Slide Zoom 32">
                  <a:extLst>
                    <a:ext uri="{FF2B5EF4-FFF2-40B4-BE49-F238E27FC236}">
                      <a16:creationId xmlns:a16="http://schemas.microsoft.com/office/drawing/2014/main" id="{890A163F-91F1-4D28-A6E8-2F892E49700F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973610605"/>
                    </p:ext>
                  </p:extLst>
                </p:nvPr>
              </p:nvGraphicFramePr>
              <p:xfrm>
                <a:off x="7264855" y="3399193"/>
                <a:ext cx="1918002" cy="1078876"/>
              </p:xfrm>
              <a:graphic>
                <a:graphicData uri="http://schemas.microsoft.com/office/powerpoint/2016/slidezoom">
                  <pslz:sldZm>
                    <pslz:sldZmObj sldId="296" cId="3147766668">
                      <pslz:zmPr id="{552A6B62-6D91-46F4-9127-703ED20C93AF}" returnToParent="0" transitionDur="1000">
                        <p166:blipFill xmlns:p166="http://schemas.microsoft.com/office/powerpoint/2016/6/main">
                          <a:blip r:embed="rId23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3" name="Slide Zoom 32">
                  <a:hlinkClick r:id="rId24" action="ppaction://hlinksldjump"/>
                  <a:extLst>
                    <a:ext uri="{FF2B5EF4-FFF2-40B4-BE49-F238E27FC236}">
                      <a16:creationId xmlns:a16="http://schemas.microsoft.com/office/drawing/2014/main" id="{890A163F-91F1-4D28-A6E8-2F892E49700F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7264855" y="3392410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E3364E-7316-43AD-A937-8A1E8FF5B17F}"/>
                </a:ext>
              </a:extLst>
            </p:cNvPr>
            <p:cNvSpPr txBox="1"/>
            <p:nvPr/>
          </p:nvSpPr>
          <p:spPr>
            <a:xfrm>
              <a:off x="7577840" y="3177208"/>
              <a:ext cx="1152128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Results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E0A3700-F2CA-41A1-A751-C55DD84592DA}"/>
              </a:ext>
            </a:extLst>
          </p:cNvPr>
          <p:cNvCxnSpPr/>
          <p:nvPr/>
        </p:nvCxnSpPr>
        <p:spPr>
          <a:xfrm>
            <a:off x="2495600" y="4797152"/>
            <a:ext cx="72008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>
                <a:extLst>
                  <a:ext uri="{FF2B5EF4-FFF2-40B4-BE49-F238E27FC236}">
                    <a16:creationId xmlns:a16="http://schemas.microsoft.com/office/drawing/2014/main" id="{4EC8C9D4-CC03-486C-A3F8-D9EC8BFF64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5265724"/>
                  </p:ext>
                </p:extLst>
              </p:nvPr>
            </p:nvGraphicFramePr>
            <p:xfrm>
              <a:off x="3030198" y="1910892"/>
              <a:ext cx="1918002" cy="1078876"/>
            </p:xfrm>
            <a:graphic>
              <a:graphicData uri="http://schemas.microsoft.com/office/powerpoint/2016/slidezoom">
                <pslz:sldZm>
                  <pslz:sldZmObj sldId="305" cId="3652046891">
                    <pslz:zmPr id="{418A1A21-C4F9-41D0-BBD3-F8B4724045EC}" returnToParent="0" transitionDur="1000">
                      <p166:blipFill xmlns:p166="http://schemas.microsoft.com/office/powerpoint/2016/6/main">
                        <a:blip r:embed="rId2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918002" cy="107887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4EC8C9D4-CC03-486C-A3F8-D9EC8BFF64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3030198" y="1910892"/>
                <a:ext cx="1918002" cy="107887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grpSp>
        <p:nvGrpSpPr>
          <p:cNvPr id="38" name="Group 37">
            <a:extLst>
              <a:ext uri="{FF2B5EF4-FFF2-40B4-BE49-F238E27FC236}">
                <a16:creationId xmlns:a16="http://schemas.microsoft.com/office/drawing/2014/main" id="{C38FF7EF-FE46-422E-9D3A-1A8B4BF0E008}"/>
              </a:ext>
            </a:extLst>
          </p:cNvPr>
          <p:cNvGrpSpPr/>
          <p:nvPr/>
        </p:nvGrpSpPr>
        <p:grpSpPr>
          <a:xfrm>
            <a:off x="738901" y="5077326"/>
            <a:ext cx="1918002" cy="1304002"/>
            <a:chOff x="1840288" y="5077326"/>
            <a:chExt cx="1918002" cy="1304002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15" name="Slide Zoom 14">
                  <a:extLst>
                    <a:ext uri="{FF2B5EF4-FFF2-40B4-BE49-F238E27FC236}">
                      <a16:creationId xmlns:a16="http://schemas.microsoft.com/office/drawing/2014/main" id="{4612B7BB-B3DB-4168-B333-4128D66B85CB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992874323"/>
                    </p:ext>
                  </p:extLst>
                </p:nvPr>
              </p:nvGraphicFramePr>
              <p:xfrm>
                <a:off x="1840288" y="5302452"/>
                <a:ext cx="1918002" cy="1078876"/>
              </p:xfrm>
              <a:graphic>
                <a:graphicData uri="http://schemas.microsoft.com/office/powerpoint/2016/slidezoom">
                  <pslz:sldZm>
                    <pslz:sldZmObj sldId="299" cId="1558941422">
                      <pslz:zmPr id="{AB7DF88F-DE6C-4401-ACEE-1BA10C820955}" returnToParent="0" transitionDur="1000">
                        <p166:blipFill xmlns:p166="http://schemas.microsoft.com/office/powerpoint/2016/6/main">
                          <a:blip r:embed="rId4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15" name="Slide Zoom 14">
                  <a:hlinkClick r:id="rId27" action="ppaction://hlinksldjump"/>
                  <a:extLst>
                    <a:ext uri="{FF2B5EF4-FFF2-40B4-BE49-F238E27FC236}">
                      <a16:creationId xmlns:a16="http://schemas.microsoft.com/office/drawing/2014/main" id="{4612B7BB-B3DB-4168-B333-4128D66B85C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840288" y="5302452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9419651-ED4B-4579-92D8-CA3139BE9358}"/>
                </a:ext>
              </a:extLst>
            </p:cNvPr>
            <p:cNvSpPr txBox="1"/>
            <p:nvPr/>
          </p:nvSpPr>
          <p:spPr>
            <a:xfrm>
              <a:off x="2223225" y="5077326"/>
              <a:ext cx="1152128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SLIC Locality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1DB8DB-DCFC-461C-9EA4-236DEB2AEFD0}"/>
              </a:ext>
            </a:extLst>
          </p:cNvPr>
          <p:cNvGrpSpPr/>
          <p:nvPr/>
        </p:nvGrpSpPr>
        <p:grpSpPr>
          <a:xfrm>
            <a:off x="2937950" y="5077326"/>
            <a:ext cx="1918002" cy="1304002"/>
            <a:chOff x="4038095" y="5077326"/>
            <a:chExt cx="1918002" cy="1304002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17" name="Slide Zoom 16">
                  <a:extLst>
                    <a:ext uri="{FF2B5EF4-FFF2-40B4-BE49-F238E27FC236}">
                      <a16:creationId xmlns:a16="http://schemas.microsoft.com/office/drawing/2014/main" id="{07E73A58-DBE3-442C-94AE-C7EAFFCDD99D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151996206"/>
                    </p:ext>
                  </p:extLst>
                </p:nvPr>
              </p:nvGraphicFramePr>
              <p:xfrm>
                <a:off x="4038095" y="5302452"/>
                <a:ext cx="1918002" cy="1078876"/>
              </p:xfrm>
              <a:graphic>
                <a:graphicData uri="http://schemas.microsoft.com/office/powerpoint/2016/slidezoom">
                  <pslz:sldZm>
                    <pslz:sldZmObj sldId="303" cId="319553700">
                      <pslz:zmPr id="{499B470F-6370-4A7C-B3F1-D10030B2F4F7}" returnToParent="0" transitionDur="1000">
                        <p166:blipFill xmlns:p166="http://schemas.microsoft.com/office/powerpoint/2016/6/main">
                          <a:blip r:embed="rId41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17" name="Slide Zoom 16">
                  <a:hlinkClick r:id="rId30" action="ppaction://hlinksldjump"/>
                  <a:extLst>
                    <a:ext uri="{FF2B5EF4-FFF2-40B4-BE49-F238E27FC236}">
                      <a16:creationId xmlns:a16="http://schemas.microsoft.com/office/drawing/2014/main" id="{07E73A58-DBE3-442C-94AE-C7EAFFCDD99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4038095" y="5302452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2B0FFB4-D434-4104-A78D-88FEA71F4468}"/>
                </a:ext>
              </a:extLst>
            </p:cNvPr>
            <p:cNvSpPr txBox="1"/>
            <p:nvPr/>
          </p:nvSpPr>
          <p:spPr>
            <a:xfrm>
              <a:off x="4376548" y="5077326"/>
              <a:ext cx="1241096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SLIC Dist. Metric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AF00EF-12C7-466E-9191-0A5E37765452}"/>
              </a:ext>
            </a:extLst>
          </p:cNvPr>
          <p:cNvGrpSpPr/>
          <p:nvPr/>
        </p:nvGrpSpPr>
        <p:grpSpPr>
          <a:xfrm>
            <a:off x="5136999" y="5055315"/>
            <a:ext cx="1918002" cy="1326013"/>
            <a:chOff x="6235902" y="5042943"/>
            <a:chExt cx="1918002" cy="1326013"/>
          </a:xfrm>
        </p:grpSpPr>
        <mc:AlternateContent xmlns:mc="http://schemas.openxmlformats.org/markup-compatibility/2006">
          <mc:Choice xmlns:pslz="http://schemas.microsoft.com/office/powerpoint/2016/slidezoom" Requires="pslz">
            <p:graphicFrame>
              <p:nvGraphicFramePr>
                <p:cNvPr id="19" name="Slide Zoom 18">
                  <a:extLst>
                    <a:ext uri="{FF2B5EF4-FFF2-40B4-BE49-F238E27FC236}">
                      <a16:creationId xmlns:a16="http://schemas.microsoft.com/office/drawing/2014/main" id="{E0D3F95D-D60B-4425-9678-1D53B3668BD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471138311"/>
                    </p:ext>
                  </p:extLst>
                </p:nvPr>
              </p:nvGraphicFramePr>
              <p:xfrm>
                <a:off x="6235902" y="5290080"/>
                <a:ext cx="1918002" cy="1078876"/>
              </p:xfrm>
              <a:graphic>
                <a:graphicData uri="http://schemas.microsoft.com/office/powerpoint/2016/slidezoom">
                  <pslz:sldZm>
                    <pslz:sldZmObj sldId="301" cId="1568313788">
                      <pslz:zmPr id="{B8D825E0-230B-4F37-B051-3D3306FC21CB}" returnToParent="0" transitionDur="1000">
                        <p166:blipFill xmlns:p166="http://schemas.microsoft.com/office/powerpoint/2016/6/main">
                          <a:blip r:embed="rId42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>
            <p:pic>
              <p:nvPicPr>
                <p:cNvPr id="19" name="Slide Zoom 18">
                  <a:extLst>
                    <a:ext uri="{FF2B5EF4-FFF2-40B4-BE49-F238E27FC236}">
                      <a16:creationId xmlns:a16="http://schemas.microsoft.com/office/drawing/2014/main" id="{E0D3F95D-D60B-4425-9678-1D53B3668BD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5136999" y="5302452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9B0129D-F39B-4372-A40B-590E45614F18}"/>
                </a:ext>
              </a:extLst>
            </p:cNvPr>
            <p:cNvSpPr txBox="1"/>
            <p:nvPr/>
          </p:nvSpPr>
          <p:spPr>
            <a:xfrm>
              <a:off x="6479192" y="5042943"/>
              <a:ext cx="1431422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AGNES Distance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22B5909-46D3-4EF0-A95C-D20CF608099B}"/>
              </a:ext>
            </a:extLst>
          </p:cNvPr>
          <p:cNvGrpSpPr/>
          <p:nvPr/>
        </p:nvGrpSpPr>
        <p:grpSpPr>
          <a:xfrm>
            <a:off x="7336048" y="5055315"/>
            <a:ext cx="1918002" cy="1326013"/>
            <a:chOff x="8433710" y="5042943"/>
            <a:chExt cx="1918002" cy="132601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92C5DC0-3C57-4243-B521-2DE956D25D45}"/>
                </a:ext>
              </a:extLst>
            </p:cNvPr>
            <p:cNvSpPr txBox="1"/>
            <p:nvPr/>
          </p:nvSpPr>
          <p:spPr>
            <a:xfrm>
              <a:off x="8677000" y="5042943"/>
              <a:ext cx="1431422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Pre-label Clusters</a:t>
              </a:r>
            </a:p>
          </p:txBody>
        </p:sp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1" name="Slide Zoom 20">
                  <a:extLst>
                    <a:ext uri="{FF2B5EF4-FFF2-40B4-BE49-F238E27FC236}">
                      <a16:creationId xmlns:a16="http://schemas.microsoft.com/office/drawing/2014/main" id="{AAB03948-0B08-494E-BB5C-C28089E0BFC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408984461"/>
                    </p:ext>
                  </p:extLst>
                </p:nvPr>
              </p:nvGraphicFramePr>
              <p:xfrm>
                <a:off x="8433710" y="5290080"/>
                <a:ext cx="1918002" cy="1078876"/>
              </p:xfrm>
              <a:graphic>
                <a:graphicData uri="http://schemas.microsoft.com/office/powerpoint/2016/slidezoom">
                  <pslz:sldZm>
                    <pslz:sldZmObj sldId="302" cId="1261301027">
                      <pslz:zmPr id="{F6D8A7E9-B05D-4B96-885B-B8B91D3437C2}" returnToParent="0" transitionDur="1000">
                        <p166:blipFill xmlns:p166="http://schemas.microsoft.com/office/powerpoint/2016/6/main">
                          <a:blip r:embed="rId43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1" name="Slide Zoom 20">
                  <a:hlinkClick r:id="rId36" action="ppaction://hlinksldjump"/>
                  <a:extLst>
                    <a:ext uri="{FF2B5EF4-FFF2-40B4-BE49-F238E27FC236}">
                      <a16:creationId xmlns:a16="http://schemas.microsoft.com/office/drawing/2014/main" id="{AAB03948-0B08-494E-BB5C-C28089E0BFC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8433710" y="5302452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D49DD26-5044-44B9-A626-ABD3EC6755EA}"/>
              </a:ext>
            </a:extLst>
          </p:cNvPr>
          <p:cNvGrpSpPr/>
          <p:nvPr/>
        </p:nvGrpSpPr>
        <p:grpSpPr>
          <a:xfrm>
            <a:off x="9535098" y="5063844"/>
            <a:ext cx="1918002" cy="1317484"/>
            <a:chOff x="10063291" y="3692833"/>
            <a:chExt cx="1918002" cy="1317484"/>
          </a:xfrm>
        </p:grpSpPr>
        <mc:AlternateContent xmlns:mc="http://schemas.openxmlformats.org/markup-compatibility/2006">
          <mc:Choice xmlns:pslz="http://schemas.microsoft.com/office/powerpoint/2016/slidezoom" Requires="pslz">
            <p:graphicFrame>
              <p:nvGraphicFramePr>
                <p:cNvPr id="5" name="Slide Zoom 4">
                  <a:extLst>
                    <a:ext uri="{FF2B5EF4-FFF2-40B4-BE49-F238E27FC236}">
                      <a16:creationId xmlns:a16="http://schemas.microsoft.com/office/drawing/2014/main" id="{ED1F2679-14E7-4746-A865-6A904DB8F77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871222848"/>
                    </p:ext>
                  </p:extLst>
                </p:nvPr>
              </p:nvGraphicFramePr>
              <p:xfrm>
                <a:off x="10063291" y="3931441"/>
                <a:ext cx="1918002" cy="1078876"/>
              </p:xfrm>
              <a:graphic>
                <a:graphicData uri="http://schemas.microsoft.com/office/powerpoint/2016/slidezoom">
                  <pslz:sldZm>
                    <pslz:sldZmObj sldId="306" cId="2957439036">
                      <pslz:zmPr id="{B47AFB16-CE44-4207-ABBF-9823ADBC12F1}" returnToParent="0" transitionDur="1000">
                        <p166:blipFill xmlns:p166="http://schemas.microsoft.com/office/powerpoint/2016/6/main">
                          <a:blip r:embed="rId44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1918002" cy="1078876"/>
                          </a:xfrm>
                          <a:prstGeom prst="rect">
                            <a:avLst/>
                          </a:prstGeom>
                          <a:ln w="3175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>
            <p:pic>
              <p:nvPicPr>
                <p:cNvPr id="5" name="Slide Zoom 4">
                  <a:extLst>
                    <a:ext uri="{FF2B5EF4-FFF2-40B4-BE49-F238E27FC236}">
                      <a16:creationId xmlns:a16="http://schemas.microsoft.com/office/drawing/2014/main" id="{ED1F2679-14E7-4746-A865-6A904DB8F77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9535098" y="5302452"/>
                  <a:ext cx="1918002" cy="107887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D5D78DE-1C00-4206-98D9-64C93668A3C2}"/>
                </a:ext>
              </a:extLst>
            </p:cNvPr>
            <p:cNvSpPr txBox="1"/>
            <p:nvPr/>
          </p:nvSpPr>
          <p:spPr>
            <a:xfrm>
              <a:off x="10306581" y="3692833"/>
              <a:ext cx="1431422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bg1"/>
                  </a:solidFill>
                </a:rPr>
                <a:t>Porosity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4131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3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Thin Section Images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7A1EFA0A-5C56-457C-8C38-14226704B2FA}"/>
              </a:ext>
            </a:extLst>
          </p:cNvPr>
          <p:cNvSpPr txBox="1">
            <a:spLocks/>
          </p:cNvSpPr>
          <p:nvPr/>
        </p:nvSpPr>
        <p:spPr bwMode="gray">
          <a:xfrm>
            <a:off x="587389" y="1700212"/>
            <a:ext cx="4320480" cy="1944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600" dirty="0"/>
              <a:t>Core slices under microscope</a:t>
            </a:r>
          </a:p>
          <a:p>
            <a:pPr lvl="1">
              <a:lnSpc>
                <a:spcPct val="150000"/>
              </a:lnSpc>
            </a:pPr>
            <a:r>
              <a:rPr lang="en-GB" sz="1600" dirty="0"/>
              <a:t>Cross polariser angles give additional insight</a:t>
            </a:r>
          </a:p>
          <a:p>
            <a:pPr lvl="1">
              <a:lnSpc>
                <a:spcPct val="150000"/>
              </a:lnSpc>
            </a:pPr>
            <a:r>
              <a:rPr lang="en-GB" sz="1600" dirty="0"/>
              <a:t>Analysis determines properties (e.g. porosity, grain size distribution)</a:t>
            </a:r>
          </a:p>
          <a:p>
            <a:pPr lvl="1">
              <a:lnSpc>
                <a:spcPct val="150000"/>
              </a:lnSpc>
            </a:pPr>
            <a:r>
              <a:rPr lang="en-GB" sz="1600" dirty="0"/>
              <a:t>High regional variabilit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608ABA2-0A7D-459E-9F3C-21E81BEAD608}"/>
              </a:ext>
            </a:extLst>
          </p:cNvPr>
          <p:cNvGrpSpPr/>
          <p:nvPr/>
        </p:nvGrpSpPr>
        <p:grpSpPr>
          <a:xfrm>
            <a:off x="5117749" y="1508539"/>
            <a:ext cx="6738891" cy="3840922"/>
            <a:chOff x="5117749" y="1508539"/>
            <a:chExt cx="6738891" cy="384092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865F576-A784-4BC6-A77A-866ECFE55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17749" y="1813359"/>
              <a:ext cx="3327783" cy="3327783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B79CFCB-7F09-4867-9FEA-3337F177A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528857" y="1813360"/>
              <a:ext cx="3327783" cy="332778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82F4B9C-475F-4CE2-BDE4-3E0BA2C04E18}"/>
                </a:ext>
              </a:extLst>
            </p:cNvPr>
            <p:cNvSpPr txBox="1"/>
            <p:nvPr/>
          </p:nvSpPr>
          <p:spPr>
            <a:xfrm>
              <a:off x="6023992" y="1508539"/>
              <a:ext cx="5022220" cy="2894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dirty="0">
                  <a:solidFill>
                    <a:schemeClr val="tx2"/>
                  </a:solidFill>
                </a:rPr>
                <a:t>Texas Sandstone (300x magnification)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1C98CE2-C987-45E4-AF4C-5D0D214FD170}"/>
                </a:ext>
              </a:extLst>
            </p:cNvPr>
            <p:cNvSpPr txBox="1"/>
            <p:nvPr/>
          </p:nvSpPr>
          <p:spPr>
            <a:xfrm>
              <a:off x="5117749" y="5124335"/>
              <a:ext cx="3327783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tx2"/>
                  </a:solidFill>
                </a:rPr>
                <a:t>Parallel Polariser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8FD5475-5AD5-41E2-BF75-95FC8DDD3472}"/>
                </a:ext>
              </a:extLst>
            </p:cNvPr>
            <p:cNvSpPr txBox="1"/>
            <p:nvPr/>
          </p:nvSpPr>
          <p:spPr>
            <a:xfrm>
              <a:off x="8528857" y="5124335"/>
              <a:ext cx="3327783" cy="2251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buSzPct val="85000"/>
              </a:pPr>
              <a:r>
                <a:rPr lang="en-US" sz="1400" dirty="0">
                  <a:solidFill>
                    <a:schemeClr val="tx2"/>
                  </a:solidFill>
                </a:rPr>
                <a:t>Cross Polarisers</a:t>
              </a:r>
            </a:p>
          </p:txBody>
        </p:sp>
      </p:grp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E914F6C-10C8-45E8-812C-1803EAC30497}"/>
              </a:ext>
            </a:extLst>
          </p:cNvPr>
          <p:cNvSpPr txBox="1">
            <a:spLocks/>
          </p:cNvSpPr>
          <p:nvPr/>
        </p:nvSpPr>
        <p:spPr bwMode="gray">
          <a:xfrm>
            <a:off x="587388" y="3840594"/>
            <a:ext cx="5022219" cy="23967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600" dirty="0"/>
              <a:t>Cheap to produce, expensive to analyse</a:t>
            </a:r>
          </a:p>
          <a:p>
            <a:pPr lvl="1">
              <a:lnSpc>
                <a:spcPct val="150000"/>
              </a:lnSpc>
            </a:pPr>
            <a:r>
              <a:rPr lang="en-GB" sz="1600" dirty="0"/>
              <a:t>Various analysis methods: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  <a:latin typeface="+mn-lt"/>
              </a:rPr>
              <a:t>Point counting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  <a:latin typeface="+mn-lt"/>
              </a:rPr>
              <a:t>Image filters &amp; thresholds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  <a:latin typeface="+mn-lt"/>
              </a:rPr>
              <a:t>Watershed transformation</a:t>
            </a:r>
          </a:p>
          <a:p>
            <a:pPr marL="712788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  <a:latin typeface="+mn-lt"/>
              </a:rPr>
              <a:t>Machine learning techniques (in development)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GB" sz="1600" dirty="0"/>
          </a:p>
        </p:txBody>
      </p:sp>
      <p:sp>
        <p:nvSpPr>
          <p:cNvPr id="12" name="Rectangle 11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FD77C71C-B40D-4F9C-9C0B-D6C3C46F8432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9E59241-3DBB-4B2F-AEF3-A9C48005BEA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785293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4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4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Project Aim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37BA95-4471-44A1-8CC5-4A37590B0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2369" y="368660"/>
            <a:ext cx="2742662" cy="5736870"/>
          </a:xfrm>
          <a:prstGeom prst="rect">
            <a:avLst/>
          </a:prstGeom>
        </p:spPr>
      </p:pic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D807B4C-5AF2-4235-A10B-DE4CCB76B6DB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6300700" cy="2736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Develop a python </a:t>
            </a:r>
            <a:r>
              <a:rPr lang="en-GB" sz="1800" b="1" dirty="0"/>
              <a:t>toolset </a:t>
            </a:r>
            <a:r>
              <a:rPr lang="en-GB" sz="1800" dirty="0"/>
              <a:t>for fast Thin Section Analysis (TSA)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Software should be:</a:t>
            </a:r>
          </a:p>
          <a:p>
            <a:pPr marL="717550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800" b="1" dirty="0">
                <a:solidFill>
                  <a:schemeClr val="tx1"/>
                </a:solidFill>
              </a:rPr>
              <a:t>Adaptable </a:t>
            </a:r>
            <a:r>
              <a:rPr lang="en-GB" sz="1800" dirty="0">
                <a:solidFill>
                  <a:schemeClr val="tx1"/>
                </a:solidFill>
              </a:rPr>
              <a:t>to develop a range of pipelines</a:t>
            </a:r>
            <a:endParaRPr lang="en-GB" sz="1800" b="1" dirty="0">
              <a:solidFill>
                <a:schemeClr val="tx1"/>
              </a:solidFill>
            </a:endParaRPr>
          </a:p>
          <a:p>
            <a:pPr marL="717550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800" b="1" dirty="0">
                <a:solidFill>
                  <a:schemeClr val="tx1"/>
                </a:solidFill>
              </a:rPr>
              <a:t>Sustainable </a:t>
            </a:r>
            <a:r>
              <a:rPr lang="en-GB" sz="1800" dirty="0">
                <a:solidFill>
                  <a:schemeClr val="tx1"/>
                </a:solidFill>
              </a:rPr>
              <a:t>for future development within Wintershall DEA</a:t>
            </a:r>
            <a:endParaRPr lang="en-GB" sz="1800" b="1" dirty="0">
              <a:solidFill>
                <a:schemeClr val="tx1"/>
              </a:solidFill>
            </a:endParaRPr>
          </a:p>
          <a:p>
            <a:pPr marL="717550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800" b="1" dirty="0">
                <a:solidFill>
                  <a:schemeClr val="tx1"/>
                </a:solidFill>
              </a:rPr>
              <a:t>Usable </a:t>
            </a:r>
            <a:r>
              <a:rPr lang="en-GB" sz="1800" dirty="0">
                <a:solidFill>
                  <a:schemeClr val="tx1"/>
                </a:solidFill>
              </a:rPr>
              <a:t>with little programming training</a:t>
            </a:r>
            <a:endParaRPr lang="en-GB" sz="1800" b="1" dirty="0">
              <a:solidFill>
                <a:schemeClr val="tx1"/>
              </a:solidFill>
            </a:endParaRPr>
          </a:p>
          <a:p>
            <a:pPr marL="717550" lvl="2" indent="-287338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800" b="1" dirty="0">
                <a:solidFill>
                  <a:schemeClr val="tx1"/>
                </a:solidFill>
              </a:rPr>
              <a:t>Valid </a:t>
            </a:r>
            <a:r>
              <a:rPr lang="en-GB" sz="1800" dirty="0">
                <a:solidFill>
                  <a:schemeClr val="tx1"/>
                </a:solidFill>
              </a:rPr>
              <a:t>for thin section images</a:t>
            </a:r>
            <a:endParaRPr lang="en-GB" sz="18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BE2889-F0E5-4B0B-8452-18C4AB6AB916}"/>
              </a:ext>
            </a:extLst>
          </p:cNvPr>
          <p:cNvSpPr/>
          <p:nvPr/>
        </p:nvSpPr>
        <p:spPr>
          <a:xfrm>
            <a:off x="8220236" y="1808820"/>
            <a:ext cx="1620180" cy="648072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83AA1B0-8CB5-4738-8C27-AAEB5BCAE37D}"/>
              </a:ext>
            </a:extLst>
          </p:cNvPr>
          <p:cNvSpPr txBox="1">
            <a:spLocks/>
          </p:cNvSpPr>
          <p:nvPr/>
        </p:nvSpPr>
        <p:spPr bwMode="gray">
          <a:xfrm>
            <a:off x="587388" y="4760077"/>
            <a:ext cx="6300700" cy="1108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Optimisation of features and hyperparameters </a:t>
            </a:r>
            <a:r>
              <a:rPr lang="en-GB" sz="1800" b="1" dirty="0"/>
              <a:t>not considered</a:t>
            </a:r>
          </a:p>
          <a:p>
            <a:pPr lvl="1">
              <a:lnSpc>
                <a:spcPct val="150000"/>
              </a:lnSpc>
            </a:pPr>
            <a:r>
              <a:rPr lang="en-GB" sz="1800" dirty="0"/>
              <a:t>TS images </a:t>
            </a:r>
            <a:r>
              <a:rPr lang="en-GB" sz="1800" b="1" dirty="0"/>
              <a:t>cropped </a:t>
            </a:r>
            <a:r>
              <a:rPr lang="en-GB" sz="1800" dirty="0"/>
              <a:t>for easier development</a:t>
            </a:r>
          </a:p>
        </p:txBody>
      </p:sp>
      <p:sp>
        <p:nvSpPr>
          <p:cNvPr id="9" name="Rectangle 8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6D2B265C-4AEB-482B-BA77-623DCCE1528C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C352320-3D1B-47B0-9589-59F65351F9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3716535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 animBg="1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5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dditional: Need for Localit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890B77-79EC-4EF1-8796-E6021EBEC9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88" t="5682" r="3396" b="6517"/>
          <a:stretch/>
        </p:blipFill>
        <p:spPr>
          <a:xfrm>
            <a:off x="2052751" y="1556792"/>
            <a:ext cx="8086498" cy="40240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91B826A-CCC6-40ED-BC03-EF2896806C48}"/>
              </a:ext>
            </a:extLst>
          </p:cNvPr>
          <p:cNvSpPr txBox="1"/>
          <p:nvPr/>
        </p:nvSpPr>
        <p:spPr>
          <a:xfrm>
            <a:off x="2052750" y="5656126"/>
            <a:ext cx="8086497" cy="5390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/>
              <a:t>Example of no locality enforcement on Texas sandstone sample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400" dirty="0"/>
              <a:t>Contour like behavior seen across the entire image </a:t>
            </a:r>
            <a:r>
              <a:rPr lang="en-US" sz="1400" dirty="0">
                <a:solidFill>
                  <a:schemeClr val="accent6"/>
                </a:solidFill>
              </a:rPr>
              <a:t> </a:t>
            </a:r>
          </a:p>
        </p:txBody>
      </p:sp>
      <p:sp>
        <p:nvSpPr>
          <p:cNvPr id="11" name="Rectangle 10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9F178D5A-C464-4AAD-89EA-7F75B3F41AE0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50EA8D8-C35F-4CC7-B817-8FD1705B55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1558941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6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1239234" y="934952"/>
            <a:ext cx="4317964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K-means</a:t>
            </a:r>
          </a:p>
        </p:txBody>
      </p:sp>
      <p:pic>
        <p:nvPicPr>
          <p:cNvPr id="2" name="SLIC_demo">
            <a:hlinkClick r:id="" action="ppaction://media"/>
            <a:extLst>
              <a:ext uri="{FF2B5EF4-FFF2-40B4-BE49-F238E27FC236}">
                <a16:creationId xmlns:a16="http://schemas.microsoft.com/office/drawing/2014/main" id="{FB57B018-8E5F-43D1-99ED-770D47EB0752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130"/>
                </p14:media>
              </p:ext>
            </p:extLst>
          </p:nvPr>
        </p:nvPicPr>
        <p:blipFill rotWithShape="1">
          <a:blip r:embed="rId6"/>
          <a:srcRect l="11549" t="11301" r="9702" b="10980"/>
          <a:stretch>
            <a:fillRect/>
          </a:stretch>
        </p:blipFill>
        <p:spPr>
          <a:xfrm>
            <a:off x="6504090" y="1580851"/>
            <a:ext cx="4572000" cy="4512190"/>
          </a:xfrm>
          <a:prstGeom prst="rect">
            <a:avLst/>
          </a:prstGeom>
        </p:spPr>
      </p:pic>
      <p:pic>
        <p:nvPicPr>
          <p:cNvPr id="5" name="kmeans-animated">
            <a:hlinkClick r:id="" action="ppaction://media"/>
            <a:extLst>
              <a:ext uri="{FF2B5EF4-FFF2-40B4-BE49-F238E27FC236}">
                <a16:creationId xmlns:a16="http://schemas.microsoft.com/office/drawing/2014/main" id="{6861C1FD-FB77-4024-9FD0-172F9C28D23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12216" y="1449288"/>
            <a:ext cx="4572000" cy="4572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EF7401-17E0-4E39-BB62-B2F96AC2F2CE}"/>
              </a:ext>
            </a:extLst>
          </p:cNvPr>
          <p:cNvSpPr txBox="1"/>
          <p:nvPr/>
        </p:nvSpPr>
        <p:spPr>
          <a:xfrm>
            <a:off x="7751997" y="934952"/>
            <a:ext cx="2076186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SLIC</a:t>
            </a:r>
          </a:p>
        </p:txBody>
      </p:sp>
      <p:sp>
        <p:nvSpPr>
          <p:cNvPr id="8" name="Rectangle 7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E83D514A-58CD-45A1-83FE-0E435F4FC799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3F9DA5FC-C114-4CBA-8DDE-1B68518C3F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1031376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137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7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758124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Additional: Color-Position Scal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611102-1687-4263-889B-0269A34A6A8F}"/>
              </a:ext>
            </a:extLst>
          </p:cNvPr>
          <p:cNvGrpSpPr/>
          <p:nvPr/>
        </p:nvGrpSpPr>
        <p:grpSpPr>
          <a:xfrm>
            <a:off x="2032987" y="2564904"/>
            <a:ext cx="8124825" cy="2266950"/>
            <a:chOff x="2032987" y="2564904"/>
            <a:chExt cx="8124825" cy="226695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9BB2EBE5-90C1-491B-B169-3A833B605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32987" y="2564904"/>
              <a:ext cx="8124825" cy="22669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C6D5CAA-3EA3-47A9-BAEF-6A3A2DF934ED}"/>
                </a:ext>
              </a:extLst>
            </p:cNvPr>
            <p:cNvSpPr/>
            <p:nvPr/>
          </p:nvSpPr>
          <p:spPr>
            <a:xfrm>
              <a:off x="9634656" y="2755151"/>
              <a:ext cx="504056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US" sz="1400" dirty="0" err="1"/>
            </a:p>
          </p:txBody>
        </p:sp>
      </p:grpSp>
      <p:sp>
        <p:nvSpPr>
          <p:cNvPr id="9" name="Rectangle 8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EABCCB3F-0BE3-49C5-A712-4666619BDF25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9FB3AF4-8E18-4064-B7C1-43FC616BD13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319553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8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97916" y="944724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solidFill>
                  <a:schemeClr val="accent1"/>
                </a:solidFill>
                <a:latin typeface="+mj-lt"/>
              </a:rPr>
              <a:t>Perform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platzhalter 6">
                <a:extLst>
                  <a:ext uri="{FF2B5EF4-FFF2-40B4-BE49-F238E27FC236}">
                    <a16:creationId xmlns:a16="http://schemas.microsoft.com/office/drawing/2014/main" id="{B40A9861-1FCB-44E5-9BAE-8A55A02A63BD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87388" y="1700212"/>
                <a:ext cx="5042991" cy="1368748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52000" indent="-252000" algn="l" defTabSz="914400" rtl="0" eaLnBrk="1" latinLnBrk="0" hangingPunct="1">
                  <a:lnSpc>
                    <a:spcPct val="110000"/>
                  </a:lnSpc>
                  <a:spcBef>
                    <a:spcPts val="1000"/>
                  </a:spcBef>
                  <a:buSzPct val="100000"/>
                  <a:buFont typeface="+mj-lt"/>
                  <a:buAutoNum type="arabicPeriod"/>
                  <a:defRPr sz="1800" kern="1200" baseline="0">
                    <a:solidFill>
                      <a:schemeClr val="tx2"/>
                    </a:solidFill>
                    <a:latin typeface="WintershallDea-Medium" panose="020B0603040000020003" pitchFamily="34" charset="0"/>
                    <a:ea typeface="+mn-ea"/>
                    <a:cs typeface="+mn-cs"/>
                    <a:sym typeface="WintershallDea" panose="020B0503040000020003" pitchFamily="34" charset="0"/>
                  </a:defRPr>
                </a:lvl1pPr>
                <a:lvl2pPr marL="432000" indent="-180000" algn="l" defTabSz="914400" rtl="0" eaLnBrk="1" latinLnBrk="0" hangingPunct="1">
                  <a:lnSpc>
                    <a:spcPct val="110000"/>
                  </a:lnSpc>
                  <a:spcBef>
                    <a:spcPts val="10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1200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88000" algn="l" defTabSz="914400" rtl="0" eaLnBrk="1" latinLnBrk="0" hangingPunct="1">
                  <a:lnSpc>
                    <a:spcPct val="110000"/>
                  </a:lnSpc>
                  <a:spcBef>
                    <a:spcPts val="20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3pPr>
                <a:lvl4pPr marL="864000" indent="-288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4pPr>
                <a:lvl5pPr marL="1152000" indent="-288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Tx/>
                  <a:buSzPct val="85000"/>
                  <a:buFont typeface="Symbol" panose="05050102010706020507" pitchFamily="18" charset="2"/>
                  <a:buChar char="·"/>
                  <a:defRPr sz="2000" kern="1200">
                    <a:solidFill>
                      <a:srgbClr val="FF0000"/>
                    </a:solidFill>
                    <a:latin typeface="Volte Rounded Medium" panose="00000600000000000000" pitchFamily="50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GB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𝓞</m:t>
                    </m:r>
                  </m:oMath>
                </a14:m>
                <a:r>
                  <a:rPr lang="en-GB" sz="1800" dirty="0"/>
                  <a:t>(number pixels) </a:t>
                </a:r>
                <a14:m>
                  <m:oMath xmlns:m="http://schemas.openxmlformats.org/officeDocument/2006/math">
                    <m:r>
                      <a:rPr lang="en-GB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GB" sz="1800" dirty="0"/>
                  <a:t> largest computation in TSA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GB" sz="1800" dirty="0"/>
                  <a:t>Optimised with vector operations (Pytorch)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GB" sz="1800" dirty="0"/>
                  <a:t>Binning reduces segment dependency</a:t>
                </a:r>
              </a:p>
            </p:txBody>
          </p:sp>
        </mc:Choice>
        <mc:Fallback xmlns="">
          <p:sp>
            <p:nvSpPr>
              <p:cNvPr id="9" name="Textplatzhalter 6">
                <a:extLst>
                  <a:ext uri="{FF2B5EF4-FFF2-40B4-BE49-F238E27FC236}">
                    <a16:creationId xmlns:a16="http://schemas.microsoft.com/office/drawing/2014/main" id="{B40A9861-1FCB-44E5-9BAE-8A55A02A63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87388" y="1700212"/>
                <a:ext cx="5042991" cy="136874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oup 23">
            <a:extLst>
              <a:ext uri="{FF2B5EF4-FFF2-40B4-BE49-F238E27FC236}">
                <a16:creationId xmlns:a16="http://schemas.microsoft.com/office/drawing/2014/main" id="{5B6830F6-03A2-4B9C-B20E-FD2F358CE9AE}"/>
              </a:ext>
            </a:extLst>
          </p:cNvPr>
          <p:cNvGrpSpPr/>
          <p:nvPr/>
        </p:nvGrpSpPr>
        <p:grpSpPr>
          <a:xfrm>
            <a:off x="731895" y="4332419"/>
            <a:ext cx="5220580" cy="379673"/>
            <a:chOff x="695400" y="3789040"/>
            <a:chExt cx="5220580" cy="37967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FF0A7E1-F511-4479-A47B-6834461E22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" r="3333" b="2773"/>
            <a:stretch/>
          </p:blipFill>
          <p:spPr>
            <a:xfrm>
              <a:off x="695400" y="3789040"/>
              <a:ext cx="5220580" cy="379673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2BB906C-816E-4C2B-980A-EAAD6AE6407F}"/>
                </a:ext>
              </a:extLst>
            </p:cNvPr>
            <p:cNvSpPr/>
            <p:nvPr/>
          </p:nvSpPr>
          <p:spPr>
            <a:xfrm>
              <a:off x="4441032" y="3878255"/>
              <a:ext cx="1332148" cy="210886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US" sz="1400" dirty="0" err="1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21AFF96-52C5-4AB9-B7FA-C12BC26A40FB}"/>
                </a:ext>
              </a:extLst>
            </p:cNvPr>
            <p:cNvSpPr/>
            <p:nvPr/>
          </p:nvSpPr>
          <p:spPr>
            <a:xfrm>
              <a:off x="3378648" y="3881572"/>
              <a:ext cx="1017961" cy="210886"/>
            </a:xfrm>
            <a:prstGeom prst="rect">
              <a:avLst/>
            </a:prstGeom>
            <a:solidFill>
              <a:schemeClr val="accent6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US" sz="1400" dirty="0" err="1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1177CA5-89D0-4363-9196-9354CE4F1DB5}"/>
              </a:ext>
            </a:extLst>
          </p:cNvPr>
          <p:cNvGrpSpPr/>
          <p:nvPr/>
        </p:nvGrpSpPr>
        <p:grpSpPr>
          <a:xfrm>
            <a:off x="6295224" y="5208625"/>
            <a:ext cx="5487166" cy="519014"/>
            <a:chOff x="695400" y="5602848"/>
            <a:chExt cx="5487166" cy="51901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E05BA94-0523-4353-9797-472F90BE7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5400" y="5664598"/>
              <a:ext cx="5487166" cy="457264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3FD072F-4A20-41A1-AC7B-E3C8CC10728E}"/>
                </a:ext>
              </a:extLst>
            </p:cNvPr>
            <p:cNvSpPr/>
            <p:nvPr/>
          </p:nvSpPr>
          <p:spPr>
            <a:xfrm>
              <a:off x="695400" y="5602848"/>
              <a:ext cx="5487166" cy="490448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US" sz="1400" dirty="0" err="1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1D170CF-CF43-425E-B8E8-5DA2B2D8073C}"/>
              </a:ext>
            </a:extLst>
          </p:cNvPr>
          <p:cNvGrpSpPr/>
          <p:nvPr/>
        </p:nvGrpSpPr>
        <p:grpSpPr>
          <a:xfrm>
            <a:off x="731895" y="4848921"/>
            <a:ext cx="5439534" cy="1238423"/>
            <a:chOff x="695400" y="4266097"/>
            <a:chExt cx="5439534" cy="123842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674297F-9EC8-4147-938D-BACAAD13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5400" y="4266097"/>
              <a:ext cx="5439534" cy="1238423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54D99E0-2D73-4F8E-9F72-922773C42F97}"/>
                </a:ext>
              </a:extLst>
            </p:cNvPr>
            <p:cNvSpPr/>
            <p:nvPr/>
          </p:nvSpPr>
          <p:spPr>
            <a:xfrm>
              <a:off x="705332" y="4270918"/>
              <a:ext cx="5429602" cy="1233602"/>
            </a:xfrm>
            <a:prstGeom prst="rect">
              <a:avLst/>
            </a:prstGeom>
            <a:solidFill>
              <a:schemeClr val="accent6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US" sz="1400" dirty="0" err="1"/>
            </a:p>
          </p:txBody>
        </p:sp>
      </p:grp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159A2565-06E6-4ADC-AF33-AC2DAAB76228}"/>
              </a:ext>
            </a:extLst>
          </p:cNvPr>
          <p:cNvSpPr txBox="1">
            <a:spLocks/>
          </p:cNvSpPr>
          <p:nvPr/>
        </p:nvSpPr>
        <p:spPr bwMode="gray">
          <a:xfrm>
            <a:off x="587388" y="3789040"/>
            <a:ext cx="5042991" cy="23532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GB" sz="1800" dirty="0"/>
              <a:t>Changeable distance metric:</a:t>
            </a:r>
          </a:p>
        </p:txBody>
      </p:sp>
      <p:sp>
        <p:nvSpPr>
          <p:cNvPr id="26" name="Rectangle 25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83CC58A5-2BCF-4A1B-8D07-C3C338B8787F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1BC365-646A-405F-ACFF-87D0A8DC52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07726" y="899783"/>
            <a:ext cx="3236946" cy="32369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7CE73D-4EE4-4B45-A676-6AA34748A4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98288" y="907108"/>
            <a:ext cx="3236946" cy="323694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2D01F3F-8AD0-4442-B62F-AABDB0849D5B}"/>
              </a:ext>
            </a:extLst>
          </p:cNvPr>
          <p:cNvSpPr txBox="1"/>
          <p:nvPr/>
        </p:nvSpPr>
        <p:spPr>
          <a:xfrm>
            <a:off x="6202213" y="1011510"/>
            <a:ext cx="2228827" cy="2572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600" dirty="0">
                <a:solidFill>
                  <a:schemeClr val="tx2"/>
                </a:solidFill>
              </a:rPr>
              <a:t>Image Siz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CC6BD5-DB51-4FA8-A345-92AC86F8BC0A}"/>
              </a:ext>
            </a:extLst>
          </p:cNvPr>
          <p:cNvSpPr txBox="1"/>
          <p:nvPr/>
        </p:nvSpPr>
        <p:spPr>
          <a:xfrm>
            <a:off x="9411651" y="1011510"/>
            <a:ext cx="2228827" cy="2572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600" dirty="0">
                <a:solidFill>
                  <a:schemeClr val="tx2"/>
                </a:solidFill>
              </a:rPr>
              <a:t>Number of Segments</a:t>
            </a: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5D835CA-6DD6-45EA-8FE9-DBBF9226B57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148588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" grpId="0" animBg="1"/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3CD5F29C-8DB7-4DE8-A7F9-CD1E07832C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"/>
          <a:stretch/>
        </p:blipFill>
        <p:spPr>
          <a:xfrm>
            <a:off x="5891048" y="3161682"/>
            <a:ext cx="2715816" cy="271862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5544B8E-A156-45F0-BA3F-B466715A98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9586" y="3163087"/>
            <a:ext cx="2715814" cy="27158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02F9C-3DDD-4EFF-8778-D15CFE7B1C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575300" y="6551154"/>
            <a:ext cx="1041400" cy="123111"/>
          </a:xfrm>
        </p:spPr>
        <p:txBody>
          <a:bodyPr/>
          <a:lstStyle/>
          <a:p>
            <a:r>
              <a:rPr lang="en-GB" sz="800" cap="none" noProof="0" dirty="0"/>
              <a:t>Page </a:t>
            </a:r>
            <a:fld id="{6F52CB93-388E-431D-8AA6-FC45B9A754B9}" type="slidenum">
              <a:rPr lang="en-GB" sz="800" noProof="0" smtClean="0"/>
              <a:pPr/>
              <a:t>9</a:t>
            </a:fld>
            <a:endParaRPr lang="en-GB" sz="800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C45871-B4CD-4BFC-B65F-B649AA3ABBFB}"/>
              </a:ext>
            </a:extLst>
          </p:cNvPr>
          <p:cNvSpPr txBox="1"/>
          <p:nvPr/>
        </p:nvSpPr>
        <p:spPr>
          <a:xfrm>
            <a:off x="647565" y="924009"/>
            <a:ext cx="5400600" cy="5146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3200" dirty="0">
                <a:latin typeface="+mj-lt"/>
              </a:rPr>
              <a:t>MSLIC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128C368-179C-4F9F-8F5C-546BF71916A5}"/>
              </a:ext>
            </a:extLst>
          </p:cNvPr>
          <p:cNvSpPr txBox="1">
            <a:spLocks/>
          </p:cNvSpPr>
          <p:nvPr/>
        </p:nvSpPr>
        <p:spPr bwMode="gray">
          <a:xfrm>
            <a:off x="587388" y="1700212"/>
            <a:ext cx="5042991" cy="27158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en-GB" sz="1800" dirty="0"/>
              <a:t>Combine multiple images in single segmentation</a:t>
            </a:r>
          </a:p>
          <a:p>
            <a:pPr marL="714375" lvl="2" indent="-287338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  <a:latin typeface="+mn-lt"/>
              </a:rPr>
              <a:t>Changeable combination metric </a:t>
            </a:r>
          </a:p>
          <a:p>
            <a:pPr marL="714375" lvl="2" indent="-287338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GB" sz="1600" dirty="0">
              <a:solidFill>
                <a:schemeClr val="tx1"/>
              </a:solidFill>
              <a:latin typeface="+mn-lt"/>
            </a:endParaRPr>
          </a:p>
          <a:p>
            <a:pPr marL="714375" lvl="2" indent="-287338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  <a:latin typeface="+mn-lt"/>
              </a:rPr>
              <a:t>Better segmentation in theory</a:t>
            </a:r>
          </a:p>
          <a:p>
            <a:pPr marL="714375" lvl="2" indent="-287338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1"/>
                </a:solidFill>
                <a:latin typeface="+mn-lt"/>
              </a:rPr>
              <a:t>Image misalignment means worse in practi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18547-9883-40AB-A26C-722A1582AA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0572" y="2852936"/>
            <a:ext cx="1943100" cy="44767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E9F8176-0BBA-4715-91D2-73D325865E2A}"/>
              </a:ext>
            </a:extLst>
          </p:cNvPr>
          <p:cNvSpPr txBox="1"/>
          <p:nvPr/>
        </p:nvSpPr>
        <p:spPr>
          <a:xfrm>
            <a:off x="6888088" y="5972302"/>
            <a:ext cx="3511971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200" dirty="0">
                <a:solidFill>
                  <a:schemeClr val="tx2"/>
                </a:solidFill>
              </a:rPr>
              <a:t>MSLIC creating common mask between imag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E571A88-34FA-4076-A2A2-0A9094ABCB9A}"/>
              </a:ext>
            </a:extLst>
          </p:cNvPr>
          <p:cNvSpPr txBox="1"/>
          <p:nvPr/>
        </p:nvSpPr>
        <p:spPr>
          <a:xfrm>
            <a:off x="5965586" y="924009"/>
            <a:ext cx="1661504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200" dirty="0">
                <a:solidFill>
                  <a:schemeClr val="tx2"/>
                </a:solidFill>
              </a:rPr>
              <a:t>Crossed Imag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63FBEAA-0749-48C6-A63A-5CD07BC79A52}"/>
              </a:ext>
            </a:extLst>
          </p:cNvPr>
          <p:cNvSpPr txBox="1"/>
          <p:nvPr/>
        </p:nvSpPr>
        <p:spPr>
          <a:xfrm>
            <a:off x="7853208" y="924009"/>
            <a:ext cx="1661504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200" dirty="0">
                <a:solidFill>
                  <a:schemeClr val="tx2"/>
                </a:solidFill>
              </a:rPr>
              <a:t>Parallel Imag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1B0D9D1-237C-4055-AB36-C816FE8A3015}"/>
              </a:ext>
            </a:extLst>
          </p:cNvPr>
          <p:cNvSpPr txBox="1"/>
          <p:nvPr/>
        </p:nvSpPr>
        <p:spPr>
          <a:xfrm>
            <a:off x="9716695" y="938133"/>
            <a:ext cx="1661504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US" sz="1200" dirty="0">
                <a:solidFill>
                  <a:schemeClr val="tx2"/>
                </a:solidFill>
              </a:rPr>
              <a:t>Overlap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83DACC23-5DEC-4DAB-B613-9989FDA533F3}"/>
              </a:ext>
            </a:extLst>
          </p:cNvPr>
          <p:cNvSpPr txBox="1">
            <a:spLocks/>
          </p:cNvSpPr>
          <p:nvPr/>
        </p:nvSpPr>
        <p:spPr bwMode="gray">
          <a:xfrm>
            <a:off x="587387" y="4546562"/>
            <a:ext cx="5042991" cy="12509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SzPct val="100000"/>
              <a:buFont typeface="+mj-lt"/>
              <a:buAutoNum type="arabicPeriod"/>
              <a:defRPr sz="1800" kern="1200" baseline="0">
                <a:solidFill>
                  <a:schemeClr val="tx2"/>
                </a:solidFill>
                <a:latin typeface="WintershallDea-Medium" panose="020B0603040000020003" pitchFamily="34" charset="0"/>
                <a:ea typeface="+mn-ea"/>
                <a:cs typeface="+mn-cs"/>
                <a:sym typeface="WintershallDea" panose="020B0503040000020003" pitchFamily="34" charset="0"/>
              </a:defRPr>
            </a:lvl1pPr>
            <a:lvl2pPr marL="432000" indent="-1800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buClrTx/>
              <a:buSzPct val="85000"/>
              <a:buFont typeface="Symbol" panose="05050102010706020507" pitchFamily="18" charset="2"/>
              <a:buChar char="·"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3pPr>
            <a:lvl4pPr marL="864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4pPr>
            <a:lvl5pPr marL="1152000" indent="-288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5000"/>
              <a:buFont typeface="Symbol" panose="05050102010706020507" pitchFamily="18" charset="2"/>
              <a:buChar char="·"/>
              <a:defRPr sz="2000" kern="1200">
                <a:solidFill>
                  <a:srgbClr val="FF0000"/>
                </a:solidFill>
                <a:latin typeface="Volte Rounded Medium" panose="000006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en-GB" sz="1800" dirty="0"/>
              <a:t>Allows for feature extraction from all imag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7C2BFD-C18D-4EC0-9960-BBAF58131C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2551" y="1181778"/>
            <a:ext cx="1764539" cy="1764539"/>
          </a:xfrm>
          <a:prstGeom prst="rect">
            <a:avLst/>
          </a:prstGeom>
          <a:ln w="635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64757C-36CA-45A1-8037-C2B212951E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0310" y="1186092"/>
            <a:ext cx="1764539" cy="1764539"/>
          </a:xfrm>
          <a:prstGeom prst="rect">
            <a:avLst/>
          </a:prstGeom>
          <a:ln w="635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A506E90-D7F3-4A47-8A60-D2867B1083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5555" y="1181778"/>
            <a:ext cx="1764539" cy="1764539"/>
          </a:xfrm>
          <a:prstGeom prst="rect">
            <a:avLst/>
          </a:prstGeom>
          <a:ln w="635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7" name="Rectangle 16">
            <a:hlinkClick r:id="" action="ppaction://hlinkshowjump?jump=lastslide" tooltip="Skip to Overview"/>
            <a:extLst>
              <a:ext uri="{FF2B5EF4-FFF2-40B4-BE49-F238E27FC236}">
                <a16:creationId xmlns:a16="http://schemas.microsoft.com/office/drawing/2014/main" id="{79ED6C3D-B8B0-4EB4-BD49-4C21DBD88BC5}"/>
              </a:ext>
            </a:extLst>
          </p:cNvPr>
          <p:cNvSpPr/>
          <p:nvPr/>
        </p:nvSpPr>
        <p:spPr>
          <a:xfrm>
            <a:off x="4727248" y="6426799"/>
            <a:ext cx="2736304" cy="24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US" sz="1400" dirty="0" err="1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1B4E6807-70CB-4D0F-BE5D-145E26EE05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95400" y="6427214"/>
            <a:ext cx="10800000" cy="123111"/>
          </a:xfrm>
        </p:spPr>
        <p:txBody>
          <a:bodyPr/>
          <a:lstStyle/>
          <a:p>
            <a:r>
              <a:rPr lang="en-US" sz="800" cap="none" dirty="0"/>
              <a:t>Automated Thin Section Analysis, Richard Boyne, 10</a:t>
            </a:r>
            <a:r>
              <a:rPr lang="en-US" sz="800" cap="none" baseline="30000" dirty="0"/>
              <a:t>th</a:t>
            </a:r>
            <a:r>
              <a:rPr lang="en-US" sz="800" cap="none" dirty="0"/>
              <a:t> Sept 2019</a:t>
            </a:r>
            <a:endParaRPr lang="en-GB" sz="800" cap="none" dirty="0"/>
          </a:p>
        </p:txBody>
      </p:sp>
    </p:spTree>
    <p:extLst>
      <p:ext uri="{BB962C8B-B14F-4D97-AF65-F5344CB8AC3E}">
        <p14:creationId xmlns:p14="http://schemas.microsoft.com/office/powerpoint/2010/main" val="4270127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47" grpId="0"/>
      <p:bldP spid="48" grpId="0"/>
      <p:bldP spid="49" grpId="0"/>
      <p:bldP spid="5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_BASF_CONVERTED_TO_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h7TbLmRuml.apNmBVl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WMkuTURgqUbzOMwtfa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YXKmTRWGlr5XVzoft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JlaLCSTSt3DVHqoIf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wiVbcDRne5NJ8n_i8_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hJC.wSRrCISUxzKquU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Je0m0vQH.KUW02Kuw0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e9iIVR2e9_QJSsAb1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vKk0NeTsuVmG0GjbvO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lX40LkRjOHGTjER3aa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9Nr7IiQRewc4uAo022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NtZMbBQYqZD536AOiv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wNL3dnQ7q.G0mGD7dM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Bj7auZSjSrkTZffHW2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mYHz2XT76n1tjq.BKP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q.YMPQYSozjnX6XOm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dttfYxRaCv2_UiKeFe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q.YMPQYSozjnX6XOm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q.YMPQYSozjnX6XOm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VGFhnESaGuJmLmvG.M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fwZDhS6GcJYCewNJT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25rhtIR.Gx7wFvbIrKTg"/>
</p:tagLst>
</file>

<file path=ppt/theme/theme1.xml><?xml version="1.0" encoding="utf-8"?>
<a:theme xmlns:a="http://schemas.openxmlformats.org/drawingml/2006/main" name="wintershall dea 16:9 EN">
  <a:themeElements>
    <a:clrScheme name="wintershall dea 2019">
      <a:dk1>
        <a:srgbClr val="000000"/>
      </a:dk1>
      <a:lt1>
        <a:srgbClr val="FFFFFF"/>
      </a:lt1>
      <a:dk2>
        <a:srgbClr val="434345"/>
      </a:dk2>
      <a:lt2>
        <a:srgbClr val="F0F3F7"/>
      </a:lt2>
      <a:accent1>
        <a:srgbClr val="012855"/>
      </a:accent1>
      <a:accent2>
        <a:srgbClr val="019CB2"/>
      </a:accent2>
      <a:accent3>
        <a:srgbClr val="72C3EE"/>
      </a:accent3>
      <a:accent4>
        <a:srgbClr val="2CAD71"/>
      </a:accent4>
      <a:accent5>
        <a:srgbClr val="DDDC02"/>
      </a:accent5>
      <a:accent6>
        <a:srgbClr val="E84249"/>
      </a:accent6>
      <a:hlink>
        <a:srgbClr val="012855"/>
      </a:hlink>
      <a:folHlink>
        <a:srgbClr val="434345"/>
      </a:folHlink>
    </a:clrScheme>
    <a:fontScheme name="wintershall dea 2019">
      <a:majorFont>
        <a:latin typeface="WintershallDea"/>
        <a:ea typeface=""/>
        <a:cs typeface=""/>
      </a:majorFont>
      <a:minorFont>
        <a:latin typeface="WintershallDe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orking_presentation.potx" id="{4733BEF2-2B85-44A3-92BC-A01D456BFC45}" vid="{6C8C5656-0D6F-4130-8615-70E7BC1AB012}"/>
    </a:ext>
  </a:extLst>
</a:theme>
</file>

<file path=ppt/theme/theme2.xml><?xml version="1.0" encoding="utf-8"?>
<a:theme xmlns:a="http://schemas.openxmlformats.org/drawingml/2006/main" name="Office">
  <a:themeElements>
    <a:clrScheme name="wintershall dea 2019">
      <a:dk1>
        <a:srgbClr val="000000"/>
      </a:dk1>
      <a:lt1>
        <a:srgbClr val="FFFFFF"/>
      </a:lt1>
      <a:dk2>
        <a:srgbClr val="434345"/>
      </a:dk2>
      <a:lt2>
        <a:srgbClr val="F0F3F7"/>
      </a:lt2>
      <a:accent1>
        <a:srgbClr val="012855"/>
      </a:accent1>
      <a:accent2>
        <a:srgbClr val="019CB2"/>
      </a:accent2>
      <a:accent3>
        <a:srgbClr val="72C3EE"/>
      </a:accent3>
      <a:accent4>
        <a:srgbClr val="2CAD71"/>
      </a:accent4>
      <a:accent5>
        <a:srgbClr val="DDDC02"/>
      </a:accent5>
      <a:accent6>
        <a:srgbClr val="E84249"/>
      </a:accent6>
      <a:hlink>
        <a:srgbClr val="012855"/>
      </a:hlink>
      <a:folHlink>
        <a:srgbClr val="434345"/>
      </a:folHlink>
    </a:clrScheme>
    <a:fontScheme name="wintershall dea 2019">
      <a:majorFont>
        <a:latin typeface="Volte Rounded"/>
        <a:ea typeface=""/>
        <a:cs typeface=""/>
      </a:majorFont>
      <a:minorFont>
        <a:latin typeface="Volte Round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wintershall dea 2019">
      <a:dk1>
        <a:srgbClr val="000000"/>
      </a:dk1>
      <a:lt1>
        <a:srgbClr val="FFFFFF"/>
      </a:lt1>
      <a:dk2>
        <a:srgbClr val="434345"/>
      </a:dk2>
      <a:lt2>
        <a:srgbClr val="F0F3F7"/>
      </a:lt2>
      <a:accent1>
        <a:srgbClr val="012855"/>
      </a:accent1>
      <a:accent2>
        <a:srgbClr val="019CB2"/>
      </a:accent2>
      <a:accent3>
        <a:srgbClr val="72C3EE"/>
      </a:accent3>
      <a:accent4>
        <a:srgbClr val="2CAD71"/>
      </a:accent4>
      <a:accent5>
        <a:srgbClr val="DDDC02"/>
      </a:accent5>
      <a:accent6>
        <a:srgbClr val="E84249"/>
      </a:accent6>
      <a:hlink>
        <a:srgbClr val="012855"/>
      </a:hlink>
      <a:folHlink>
        <a:srgbClr val="434345"/>
      </a:folHlink>
    </a:clrScheme>
    <a:fontScheme name="wintershall dea 2019">
      <a:majorFont>
        <a:latin typeface="Volte Rounded"/>
        <a:ea typeface=""/>
        <a:cs typeface=""/>
      </a:majorFont>
      <a:minorFont>
        <a:latin typeface="Volte Round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1EAFC7A30E8E49962A29CBD589AFD4" ma:contentTypeVersion="3" ma:contentTypeDescription="Create a new document." ma:contentTypeScope="" ma:versionID="c9f86a8e95a26fc6c4e4773871e344fd">
  <xsd:schema xmlns:xsd="http://www.w3.org/2001/XMLSchema" xmlns:xs="http://www.w3.org/2001/XMLSchema" xmlns:p="http://schemas.microsoft.com/office/2006/metadata/properties" xmlns:ns2="a8bf5b7f-54a7-4aea-b869-401fa69e340e" targetNamespace="http://schemas.microsoft.com/office/2006/metadata/properties" ma:root="true" ma:fieldsID="2a6931f3d21173f783f1883ba82b1836" ns2:_="">
    <xsd:import namespace="a8bf5b7f-54a7-4aea-b869-401fa69e34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bf5b7f-54a7-4aea-b869-401fa69e34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ACE114-FCC4-4FBF-BDEE-1D9FF18F4240}">
  <ds:schemaRefs>
    <ds:schemaRef ds:uri="http://purl.org/dc/elements/1.1/"/>
    <ds:schemaRef ds:uri="http://www.w3.org/XML/1998/namespace"/>
    <ds:schemaRef ds:uri="http://schemas.microsoft.com/office/2006/documentManagement/types"/>
    <ds:schemaRef ds:uri="a8bf5b7f-54a7-4aea-b869-401fa69e340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591CE0C-072A-471B-A3C9-6A2C7B538B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bf5b7f-54a7-4aea-b869-401fa69e34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653443-7C48-487C-BBFB-67934582D7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orking_presentation</Template>
  <TotalTime>89</TotalTime>
  <Words>929</Words>
  <Application>Microsoft Office PowerPoint</Application>
  <PresentationFormat>Widescreen</PresentationFormat>
  <Paragraphs>202</Paragraphs>
  <Slides>22</Slides>
  <Notes>5</Notes>
  <HiddenSlides>5</HiddenSlides>
  <MMClips>2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mbria Math</vt:lpstr>
      <vt:lpstr>Symbol</vt:lpstr>
      <vt:lpstr>Volte Rounded Medium</vt:lpstr>
      <vt:lpstr>Wingdings</vt:lpstr>
      <vt:lpstr>WintershallDea</vt:lpstr>
      <vt:lpstr>WintershallDea-Medium</vt:lpstr>
      <vt:lpstr>wintershall dea 16:9 EN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PowerPoint Presentation</vt:lpstr>
    </vt:vector>
  </TitlesOfParts>
  <Manager>Name Surname</Manager>
  <Company>wintershall de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Boyne</dc:creator>
  <dc:description>Optimised for PowerPoint-Version 365</dc:description>
  <cp:lastModifiedBy>Boyne, Richard G</cp:lastModifiedBy>
  <cp:revision>52</cp:revision>
  <dcterms:created xsi:type="dcterms:W3CDTF">2019-09-03T07:21:19Z</dcterms:created>
  <dcterms:modified xsi:type="dcterms:W3CDTF">2019-09-09T12:2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1EAFC7A30E8E49962A29CBD589AFD4</vt:lpwstr>
  </property>
  <property fmtid="{D5CDD505-2E9C-101B-9397-08002B2CF9AE}" pid="3" name="Classification_to_AIP">
    <vt:i4>0</vt:i4>
  </property>
  <property fmtid="{D5CDD505-2E9C-101B-9397-08002B2CF9AE}" pid="4" name="MSIP_Label_c8c00982-80e1-41e6-a03a-12f4ca954faf_Enabled">
    <vt:lpwstr>Fals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BoyneR@basfad.basf.net</vt:lpwstr>
  </property>
  <property fmtid="{D5CDD505-2E9C-101B-9397-08002B2CF9AE}" pid="7" name="MSIP_Label_c8c00982-80e1-41e6-a03a-12f4ca954faf_SetDate">
    <vt:lpwstr>2019-09-02T07:57:29.3538060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22845c44-a3f7-4724-86f1-c0f02e19b313</vt:lpwstr>
  </property>
  <property fmtid="{D5CDD505-2E9C-101B-9397-08002B2CF9AE}" pid="11" name="MSIP_Label_c8c00982-80e1-41e6-a03a-12f4ca954faf_Extended_MSFT_Method">
    <vt:lpwstr>Manual</vt:lpwstr>
  </property>
  <property fmtid="{D5CDD505-2E9C-101B-9397-08002B2CF9AE}" pid="12" name="MSIP_Label_06530cf4-8573-4c29-a912-bbcdac835909_Enabled">
    <vt:lpwstr>Fals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BoyneR@basfad.basf.net</vt:lpwstr>
  </property>
  <property fmtid="{D5CDD505-2E9C-101B-9397-08002B2CF9AE}" pid="15" name="MSIP_Label_06530cf4-8573-4c29-a912-bbcdac835909_SetDate">
    <vt:lpwstr>2019-09-02T07:57:29.3538060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22845c44-a3f7-4724-86f1-c0f02e19b313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Manual</vt:lpwstr>
  </property>
</Properties>
</file>